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16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  <p:sldMasterId id="2147483762" r:id="rId5"/>
  </p:sldMasterIdLst>
  <p:notesMasterIdLst>
    <p:notesMasterId r:id="rId74"/>
  </p:notesMasterIdLst>
  <p:handoutMasterIdLst>
    <p:handoutMasterId r:id="rId75"/>
  </p:handoutMasterIdLst>
  <p:sldIdLst>
    <p:sldId id="412" r:id="rId6"/>
    <p:sldId id="265" r:id="rId7"/>
    <p:sldId id="526" r:id="rId8"/>
    <p:sldId id="260" r:id="rId9"/>
    <p:sldId id="460" r:id="rId10"/>
    <p:sldId id="461" r:id="rId11"/>
    <p:sldId id="462" r:id="rId12"/>
    <p:sldId id="463" r:id="rId13"/>
    <p:sldId id="455" r:id="rId14"/>
    <p:sldId id="471" r:id="rId15"/>
    <p:sldId id="465" r:id="rId16"/>
    <p:sldId id="467" r:id="rId17"/>
    <p:sldId id="468" r:id="rId18"/>
    <p:sldId id="469" r:id="rId19"/>
    <p:sldId id="470" r:id="rId20"/>
    <p:sldId id="473" r:id="rId21"/>
    <p:sldId id="476" r:id="rId22"/>
    <p:sldId id="477" r:id="rId23"/>
    <p:sldId id="478" r:id="rId24"/>
    <p:sldId id="466" r:id="rId25"/>
    <p:sldId id="456" r:id="rId26"/>
    <p:sldId id="479" r:id="rId27"/>
    <p:sldId id="480" r:id="rId28"/>
    <p:sldId id="482" r:id="rId29"/>
    <p:sldId id="481" r:id="rId30"/>
    <p:sldId id="485" r:id="rId31"/>
    <p:sldId id="486" r:id="rId32"/>
    <p:sldId id="490" r:id="rId33"/>
    <p:sldId id="484" r:id="rId34"/>
    <p:sldId id="483" r:id="rId35"/>
    <p:sldId id="487" r:id="rId36"/>
    <p:sldId id="491" r:id="rId37"/>
    <p:sldId id="493" r:id="rId38"/>
    <p:sldId id="494" r:id="rId39"/>
    <p:sldId id="495" r:id="rId40"/>
    <p:sldId id="496" r:id="rId41"/>
    <p:sldId id="457" r:id="rId42"/>
    <p:sldId id="497" r:id="rId43"/>
    <p:sldId id="498" r:id="rId44"/>
    <p:sldId id="502" r:id="rId45"/>
    <p:sldId id="499" r:id="rId46"/>
    <p:sldId id="503" r:id="rId47"/>
    <p:sldId id="505" r:id="rId48"/>
    <p:sldId id="500" r:id="rId49"/>
    <p:sldId id="501" r:id="rId50"/>
    <p:sldId id="525" r:id="rId51"/>
    <p:sldId id="504" r:id="rId52"/>
    <p:sldId id="506" r:id="rId53"/>
    <p:sldId id="507" r:id="rId54"/>
    <p:sldId id="509" r:id="rId55"/>
    <p:sldId id="524" r:id="rId56"/>
    <p:sldId id="459" r:id="rId57"/>
    <p:sldId id="510" r:id="rId58"/>
    <p:sldId id="511" r:id="rId59"/>
    <p:sldId id="513" r:id="rId60"/>
    <p:sldId id="514" r:id="rId61"/>
    <p:sldId id="512" r:id="rId62"/>
    <p:sldId id="515" r:id="rId63"/>
    <p:sldId id="522" r:id="rId64"/>
    <p:sldId id="464" r:id="rId65"/>
    <p:sldId id="517" r:id="rId66"/>
    <p:sldId id="518" r:id="rId67"/>
    <p:sldId id="519" r:id="rId68"/>
    <p:sldId id="520" r:id="rId69"/>
    <p:sldId id="382" r:id="rId70"/>
    <p:sldId id="521" r:id="rId71"/>
    <p:sldId id="523" r:id="rId72"/>
    <p:sldId id="325" r:id="rId7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FF890E"/>
    <a:srgbClr val="033EC1"/>
    <a:srgbClr val="BDD7EE"/>
    <a:srgbClr val="014185"/>
    <a:srgbClr val="002060"/>
    <a:srgbClr val="216989"/>
    <a:srgbClr val="DD5A1F"/>
    <a:srgbClr val="4472C4"/>
    <a:srgbClr val="1C69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12" autoAdjust="0"/>
    <p:restoredTop sz="95172" autoAdjust="0"/>
  </p:normalViewPr>
  <p:slideViewPr>
    <p:cSldViewPr snapToGrid="0" snapToObjects="1">
      <p:cViewPr varScale="1">
        <p:scale>
          <a:sx n="115" d="100"/>
          <a:sy n="115" d="100"/>
        </p:scale>
        <p:origin x="84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86" d="100"/>
          <a:sy n="86" d="100"/>
        </p:scale>
        <p:origin x="2688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presProps" Target="pres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4E0D86-2B18-484E-A059-36A13C48AE65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57FB1D-E27C-3C4E-ADA0-85747A60B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6D865D-8AD5-164D-87A7-DE5F6A4AAE52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19F00E-9A68-9A45-9A40-54379875F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497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8604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A1106-7F7C-FF64-D1C7-721BD34DEA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E43CF2-D801-9980-846E-C39E272265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39A7FF-8288-24C8-774E-66A485AFFE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0E58DB-19B2-4202-9EDC-B3BDC9313A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8629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I is a memory-optimized columnar storage for an index</a:t>
            </a:r>
          </a:p>
          <a:p>
            <a:r>
              <a:rPr lang="en-US" dirty="0"/>
              <a:t>It’s particularly aimed at data warehouses.</a:t>
            </a:r>
          </a:p>
          <a:p>
            <a:r>
              <a:rPr lang="en-US" dirty="0"/>
              <a:t>It can drastically improve performance. BTW they are not exactly “in-memory”.</a:t>
            </a:r>
          </a:p>
          <a:p>
            <a:endParaRPr lang="en-US" dirty="0"/>
          </a:p>
          <a:p>
            <a:r>
              <a:rPr lang="en-US" dirty="0"/>
              <a:t>The example here is typical </a:t>
            </a:r>
            <a:r>
              <a:rPr lang="en-US" dirty="0" err="1"/>
              <a:t>rowstorage</a:t>
            </a:r>
            <a:r>
              <a:rPr lang="en-US" dirty="0"/>
              <a:t>, as we have known it for years.</a:t>
            </a:r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3988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ecause the data is stored as columns, it can be compressed much better. Since the compression is much better, more data can fit into memory. Also, a CI allows you to read only the columns that you actually need, reducing IO drastically.</a:t>
            </a:r>
          </a:p>
          <a:p>
            <a:endParaRPr lang="nl-BE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7490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,048,576 = 1024 * 1024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g enough for good compression, small enough to fit into memory</a:t>
            </a:r>
            <a:endParaRPr lang="en-US" dirty="0"/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0403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gment elimination. If you have large rowgroups in a small table, scanning the entire rowgroup probably isn’t as efficient as a normal B-tree index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reality, this is hard to achieve because not all your columns are sorted. Trick: apply clustered index to one column, than apply CCI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 data is sorted according to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orginal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 clustered index.</a:t>
            </a:r>
            <a:endParaRPr lang="en-US" dirty="0"/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1340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58105-B90D-B996-E641-CB7919EBDB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7B01F6-7444-C417-EB90-37DD210A94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A3A84F-7254-7024-38D8-2E386AE28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22B5BF-D93C-3CA0-4B67-77596EFCEC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9F00E-9A68-9A45-9A40-54379875F4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31502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15DFA-47B4-6BBE-DBE2-FC0FB8CDB3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85798D-7507-80C0-C4A3-E548223940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7A5F88-A881-324D-D362-E1B7BECF4E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A912AA-4713-765D-E46A-D084A57ED7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9F00E-9A68-9A45-9A40-54379875F4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3316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cause you can fix a massive performance issues with a query using a single index. Suddenly a query that runs for minutes or hours can finish in seconds or even les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4290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specially SELECT querie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666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99451E-DFD0-5591-0B2B-880C66F33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0F8BB2-D632-DD4A-4015-A3CBEF8F65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DD316F-9AE9-499E-04BB-B921730B76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ERTS will be slower, DELETES &amp; UPDATES might be slower, might be faster, it depends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69830E-D17A-977A-9735-667F7AA7A7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3215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3717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table without a clustered index is a heap. Looking for a row means scanning through the whole table.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2050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D6D6E-5EDA-A44A-AFD3-A24A17FFE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7F030F-9850-09D6-5452-C2CB0123F4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5C6ECF-4911-69E6-43B7-4330936EF0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367B97-81A4-9619-B29E-370050B95F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9477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3001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165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94137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075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633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07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78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2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64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684977629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984936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89058227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376948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04232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103276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8297094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411904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0338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304677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606429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715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964318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609827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7037256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304510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77712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495545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275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922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93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567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67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3060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822597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78783930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702867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56393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59826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18555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520992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9908739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582302193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18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226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79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260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4693142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269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817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898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86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07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57416703"/>
      </p:ext>
    </p:extLst>
  </p:cSld>
  <p:clrMapOvr>
    <a:masterClrMapping/>
  </p:clrMapOvr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6164143"/>
      </p:ext>
    </p:extLst>
  </p:cSld>
  <p:clrMapOvr>
    <a:masterClrMapping/>
  </p:clrMapOvr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93311303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787126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188352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545529165"/>
      </p:ext>
    </p:extLst>
  </p:cSld>
  <p:clrMapOvr>
    <a:masterClrMapping/>
  </p:clrMapOvr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9490970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201556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0273054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246364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5503362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7573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317252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569202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4805"/>
      </p:ext>
    </p:extLst>
  </p:cSld>
  <p:clrMapOvr>
    <a:masterClrMapping/>
  </p:clrMapOvr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254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78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192089"/>
      </p:ext>
    </p:extLst>
  </p:cSld>
  <p:clrMapOvr>
    <a:masterClrMapping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707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17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713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721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165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64131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88238"/>
      </p:ext>
    </p:extLst>
  </p:cSld>
  <p:clrMapOvr>
    <a:masterClrMapping/>
  </p:clrMapOvr>
  <p:hf hd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94862820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71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2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theme" Target="../theme/theme2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59.xml"/><Relationship Id="rId41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66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45" r:id="rId36"/>
    <p:sldLayoutId id="2147483746" r:id="rId37"/>
    <p:sldLayoutId id="2147483747" r:id="rId38"/>
    <p:sldLayoutId id="2147483748" r:id="rId3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017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  <p:sldLayoutId id="2147483794" r:id="rId32"/>
    <p:sldLayoutId id="2147483795" r:id="rId33"/>
    <p:sldLayoutId id="2147483796" r:id="rId34"/>
    <p:sldLayoutId id="2147483797" r:id="rId35"/>
    <p:sldLayoutId id="2147483798" r:id="rId36"/>
    <p:sldLayoutId id="2147483799" r:id="rId37"/>
    <p:sldLayoutId id="2147483800" r:id="rId38"/>
    <p:sldLayoutId id="2147483801" r:id="rId3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2.pn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3.pn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8.svg"/><Relationship Id="rId11" Type="http://schemas.openxmlformats.org/officeDocument/2006/relationships/image" Target="../media/image33.jp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2.png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3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hyperlink" Target="https://learn.microsoft.com/en-us/sql/relational-databases/system-dynamic-management-views/sys-dm-db-missing-index-details-transact-sql?view=sql-server-ver17#examples" TargetMode="Externa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9.jpe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4" Type="http://schemas.openxmlformats.org/officeDocument/2006/relationships/image" Target="../media/image62.sv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6.png"/><Relationship Id="rId12" Type="http://schemas.openxmlformats.org/officeDocument/2006/relationships/image" Target="../media/image64.svg"/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65.png"/><Relationship Id="rId11" Type="http://schemas.openxmlformats.org/officeDocument/2006/relationships/image" Target="../media/image63.png"/><Relationship Id="rId5" Type="http://schemas.openxmlformats.org/officeDocument/2006/relationships/image" Target="../media/image3.svg"/><Relationship Id="rId10" Type="http://schemas.openxmlformats.org/officeDocument/2006/relationships/image" Target="../media/image62.svg"/><Relationship Id="rId4" Type="http://schemas.openxmlformats.org/officeDocument/2006/relationships/image" Target="../media/image2.png"/><Relationship Id="rId9" Type="http://schemas.openxmlformats.org/officeDocument/2006/relationships/image" Target="../media/image61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69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sql/relational-databases/indexes/columnstore-indexes-what-s-new?view=sql-server-ver17#feature-summary-for-product-releases" TargetMode="External"/><Relationship Id="rId2" Type="http://schemas.openxmlformats.org/officeDocument/2006/relationships/hyperlink" Target="https://learn.microsoft.com/en-us/sql/t-sql/statements/create-columnstore-index-transact-sql?view=sql-server-ver17#version-availability" TargetMode="External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2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sqlsunday.com/2025/05/19/json-indexes-first-impressions/" TargetMode="External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81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hyperlink" Target="https://learn.microsoft.com/en-us/azure/synapse-analytics/sql-data-warehouse/massively-parallel-processing-mpp-architecture" TargetMode="External"/><Relationship Id="rId1" Type="http://schemas.openxmlformats.org/officeDocument/2006/relationships/slideLayout" Target="../slideLayouts/slideLayout1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hyperlink" Target="https://learn.microsoft.com/en-us/azure/synapse-analytics/sql-data-warehouse/massively-parallel-processing-mpp-architecture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5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gif"/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hyperlink" Target="https://learn.microsoft.com/en-us/fabric/data-warehouse/guidelines-warehouse-performance" TargetMode="External"/><Relationship Id="rId1" Type="http://schemas.openxmlformats.org/officeDocument/2006/relationships/slideLayout" Target="../slideLayouts/slideLayout19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hyperlink" Target="https://ola.hallengren.com/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91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hyperlink" Target="https://www.brentozar.com/blitzindex/" TargetMode="External"/><Relationship Id="rId1" Type="http://schemas.openxmlformats.org/officeDocument/2006/relationships/slideLayout" Target="../slideLayouts/slideLayout19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hyperlink" Target="https://ola.hallengren.com/" TargetMode="External"/><Relationship Id="rId13" Type="http://schemas.openxmlformats.org/officeDocument/2006/relationships/image" Target="../media/image94.jpeg"/><Relationship Id="rId3" Type="http://schemas.openxmlformats.org/officeDocument/2006/relationships/hyperlink" Target="https://learn.microsoft.com/en-us/sql/relational-databases/indexes/indexes?view=sql-server-ver17" TargetMode="External"/><Relationship Id="rId7" Type="http://schemas.openxmlformats.org/officeDocument/2006/relationships/hyperlink" Target="https://sqlsunday.com/2025/05/19/json-indexes-first-impressions/" TargetMode="External"/><Relationship Id="rId12" Type="http://schemas.openxmlformats.org/officeDocument/2006/relationships/hyperlink" Target="https://amzn.to/47t0jwF" TargetMode="External"/><Relationship Id="rId2" Type="http://schemas.openxmlformats.org/officeDocument/2006/relationships/hyperlink" Target="https://learn.microsoft.com/en-us/sql/relational-databases/sql-server-index-design-guide?view=sql-server-ver17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learn.microsoft.com/en-us/sql/relational-databases/indexes/columnstore-indexes-overview?view=sql-server-ver17" TargetMode="External"/><Relationship Id="rId11" Type="http://schemas.openxmlformats.org/officeDocument/2006/relationships/image" Target="../media/image93.jpeg"/><Relationship Id="rId5" Type="http://schemas.openxmlformats.org/officeDocument/2006/relationships/hyperlink" Target="https://www.sqlshack.com/sql-server-clustered-indexes-internals-with-examples/" TargetMode="External"/><Relationship Id="rId10" Type="http://schemas.openxmlformats.org/officeDocument/2006/relationships/hyperlink" Target="https://amzn.to/480zyQo" TargetMode="External"/><Relationship Id="rId4" Type="http://schemas.openxmlformats.org/officeDocument/2006/relationships/hyperlink" Target="https://learn.microsoft.com/en-us/sql/relational-databases/indexes/clustered-and-nonclustered-indexes-described?view=sql-server-ver17" TargetMode="External"/><Relationship Id="rId9" Type="http://schemas.openxmlformats.org/officeDocument/2006/relationships/hyperlink" Target="https://www.brentozar.com/responder/" TargetMode="Externa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sql/relational-databases/sql-server-index-design-guide?view=sql-server-ver17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E5395D9-5BD4-1DE2-DF21-C8736C0235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45337" cy="1903106"/>
          </a:xfrm>
        </p:spPr>
        <p:txBody>
          <a:bodyPr>
            <a:normAutofit/>
          </a:bodyPr>
          <a:lstStyle/>
          <a:p>
            <a:r>
              <a:rPr lang="en-US" dirty="0"/>
              <a:t>Indexing for Dummies</a:t>
            </a:r>
            <a:endParaRPr lang="nl-BE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4B692977-2123-AB32-F842-9F8D55B6C7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670874"/>
            <a:ext cx="7674590" cy="728803"/>
          </a:xfrm>
        </p:spPr>
        <p:txBody>
          <a:bodyPr>
            <a:normAutofit/>
          </a:bodyPr>
          <a:lstStyle/>
          <a:p>
            <a:r>
              <a:rPr lang="en-US" sz="3200" dirty="0"/>
              <a:t>Koen Verbeeck</a:t>
            </a:r>
            <a:endParaRPr lang="nl-BE" sz="1200" dirty="0"/>
          </a:p>
        </p:txBody>
      </p:sp>
      <p:pic>
        <p:nvPicPr>
          <p:cNvPr id="2" name="Picture 1" descr="A cartoon of a person pointing&#10;&#10;Description automatically generated">
            <a:extLst>
              <a:ext uri="{FF2B5EF4-FFF2-40B4-BE49-F238E27FC236}">
                <a16:creationId xmlns:a16="http://schemas.microsoft.com/office/drawing/2014/main" id="{977F7CCC-51A7-B8B0-34A0-E9590F9C7E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13" y="3813243"/>
            <a:ext cx="2361365" cy="3132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1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 large pile of hay sitting in a field">
            <a:extLst>
              <a:ext uri="{FF2B5EF4-FFF2-40B4-BE49-F238E27FC236}">
                <a16:creationId xmlns:a16="http://schemas.microsoft.com/office/drawing/2014/main" id="{8D4CE621-9D26-587D-4D4F-87D0DD28A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155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29E5B1-400C-A64B-5BF5-1B7DF7684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3076" name="Picture 4" descr="Geen telefoonboek meer op papier | Wablieft">
            <a:extLst>
              <a:ext uri="{FF2B5EF4-FFF2-40B4-BE49-F238E27FC236}">
                <a16:creationId xmlns:a16="http://schemas.microsoft.com/office/drawing/2014/main" id="{389590DD-5FB0-6322-37F6-65045EEEB4E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758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C4A31-4F47-51AB-451C-46A41EBE6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45D490-F05C-612F-56DD-D21F0ED0B0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8000" dirty="0"/>
              <a:t>the clustered index </a:t>
            </a:r>
            <a:r>
              <a:rPr lang="en-US" sz="8000" b="1" dirty="0"/>
              <a:t>IS THE TABLE</a:t>
            </a:r>
            <a:endParaRPr lang="nl-BE" sz="8000" b="1" dirty="0"/>
          </a:p>
        </p:txBody>
      </p:sp>
    </p:spTree>
    <p:extLst>
      <p:ext uri="{BB962C8B-B14F-4D97-AF65-F5344CB8AC3E}">
        <p14:creationId xmlns:p14="http://schemas.microsoft.com/office/powerpoint/2010/main" val="380422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79CD5FF-4A83-0633-5C5E-ACA4804DD09A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6DE068-BBE7-DBCC-D17C-8847E8402ECA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B33CDC8-B214-93C7-93A5-B347CDEE1F4C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F0BDD6-B37C-BFA4-7948-31C37B4ED0D0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94215B-C74C-6B46-A5C9-C943E0A1191D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884A52-9A71-1ECD-F926-9A2FAFC6C1CD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04E120-35B4-118B-97E6-2F732E5D4544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A3575AE-C5A8-CF4D-3212-92EDA14565FB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6843196-DA30-558D-5011-6ED3393B00AE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B72553-7A4C-7A35-08CA-F94C23CB3B87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EB9E527-C149-A552-2FF6-120F9C75E8CE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51F5B5-20CF-A446-F8B4-E9104FA375E5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96B71A-798E-AA7E-08E2-73F58D139096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A98DEE9-C723-07EE-0B59-752C31B42F44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7ECB054-0569-4C8B-1145-A6B04FE0C6FE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B4CEC80-7252-8F7E-EF7B-27F602AB05C3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4B9F5D8-6778-9700-422A-AD4093711E3E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08D24A3-8538-F95F-B1AF-95A0047D1B57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0CF4C7A-775D-4F71-318F-E232DD11D2FE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63AF84D3-DB9D-D17D-E2A4-97157E529F13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E2697049-A032-9BB0-2475-232483CE646C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E7509A8-D383-796B-C9D7-0877CA79BB53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328C4D9-1CD5-98C2-35A4-F3750A91797D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93535CF-9BE1-BEB6-B848-682E996E69AC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D2496B9-EE69-A92E-86E3-DDC01833F5D3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57A3D73-929B-6A98-9F43-49AE3C6D4D07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848FD35-2CE9-FEC1-0896-E7D0997E70A7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BCD7D4D-8803-90AD-DE65-D9A472712963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4A25F2B-34FA-A5C7-F930-875F32CBA7AC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55FF3EB-9AC6-3AAA-E951-1CE283E408EF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0570B53-C903-756A-9972-C61FE959BC9F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FD8CF897-1C78-340A-1C9F-F938C3FDDAFB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6F1EE9B-CD70-2D0C-C886-95FC117284BD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9F4E9F4D-0A98-5254-079D-75716C92F034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BC0B203-7522-466C-1FFD-A63AA3175899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6CEECAA-1E99-4087-C1C2-0CBDF75EE19F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6B9D9D1A-6464-11F0-7033-3EA7BEEA4083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06278710-FABE-FD22-ED83-85D9CC8D4DA3}"/>
              </a:ext>
            </a:extLst>
          </p:cNvPr>
          <p:cNvCxnSpPr>
            <a:cxnSpLocks/>
            <a:stCxn id="19" idx="3"/>
            <a:endCxn id="17" idx="1"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18E5711B-DA2F-98B1-4A0B-2C383FE28AE4}"/>
              </a:ext>
            </a:extLst>
          </p:cNvPr>
          <p:cNvCxnSpPr>
            <a:cxnSpLocks/>
            <a:stCxn id="20" idx="3"/>
            <a:endCxn id="21" idx="1"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21B8848A-B095-B147-AA2D-5F29C24FB2F8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BEE2ED3C-C2C0-830F-4906-56D3A69B82EA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8E8363A-4ACB-9165-9FE7-7EB4F369EACE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23DE92DF-A2C5-FF30-C4D9-3E7838BF9432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2422497-B7C2-CBE3-05CF-F29A5BF413B2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5F76CBC-5E46-72ED-2C8B-C9EB20553019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AFE3BA7-255C-6FFD-6427-5EB82EB183D3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3C89DBA-5667-AE1B-CD44-197340E08955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D21622F-DAF3-46E6-B06B-41BCA025CE17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9F29561-A6C5-F157-ADAC-4B34ACC895DD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4764BBB3-7539-F0E6-9A1B-46C7ABE81E51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7902B1C6-6257-EDAA-552E-F79FE715208A}"/>
              </a:ext>
            </a:extLst>
          </p:cNvPr>
          <p:cNvCxnSpPr>
            <a:cxnSpLocks/>
            <a:stCxn id="19" idx="2"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2E592DA8-2354-36DD-73B2-72E50831F5AA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307B5C55-D11A-A016-3EAE-CF339AE61760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C567727F-81DA-2EE3-3909-F65697FCAB17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7B9D8F9B-D579-41F4-84D1-25819E3E811A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2E21BD8D-099E-0987-2B1B-61FD09384B36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267491E5-03C4-15B2-3158-264799C53089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96F7A1C4-B4A8-C50D-C8E7-9FE9B9CD1E87}"/>
              </a:ext>
            </a:extLst>
          </p:cNvPr>
          <p:cNvSpPr/>
          <p:nvPr/>
        </p:nvSpPr>
        <p:spPr>
          <a:xfrm>
            <a:off x="4610099" y="695325"/>
            <a:ext cx="2752725" cy="1107196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5DF385F-0582-27B8-E190-0BACCCF19B33}"/>
              </a:ext>
            </a:extLst>
          </p:cNvPr>
          <p:cNvSpPr/>
          <p:nvPr/>
        </p:nvSpPr>
        <p:spPr>
          <a:xfrm>
            <a:off x="81281" y="1960334"/>
            <a:ext cx="11948794" cy="1970005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403EE76-98A3-0A79-C51B-261BCD11382F}"/>
              </a:ext>
            </a:extLst>
          </p:cNvPr>
          <p:cNvSpPr/>
          <p:nvPr/>
        </p:nvSpPr>
        <p:spPr>
          <a:xfrm>
            <a:off x="81281" y="3977550"/>
            <a:ext cx="11948794" cy="976167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8675678B-1A77-39AF-D69F-03B6D7823578}"/>
              </a:ext>
            </a:extLst>
          </p:cNvPr>
          <p:cNvSpPr txBox="1"/>
          <p:nvPr/>
        </p:nvSpPr>
        <p:spPr>
          <a:xfrm>
            <a:off x="3448543" y="600940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root level</a:t>
            </a:r>
            <a:endParaRPr lang="nl-BE" dirty="0">
              <a:solidFill>
                <a:srgbClr val="002060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71B917B-EAF2-52F3-A216-0A276E0A0DAB}"/>
              </a:ext>
            </a:extLst>
          </p:cNvPr>
          <p:cNvSpPr txBox="1"/>
          <p:nvPr/>
        </p:nvSpPr>
        <p:spPr>
          <a:xfrm>
            <a:off x="136638" y="1960334"/>
            <a:ext cx="1776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intermediate level</a:t>
            </a:r>
            <a:endParaRPr lang="nl-BE" dirty="0">
              <a:solidFill>
                <a:srgbClr val="002060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05B492EE-F7F7-9786-27FB-4B60AB28A7E3}"/>
              </a:ext>
            </a:extLst>
          </p:cNvPr>
          <p:cNvSpPr txBox="1"/>
          <p:nvPr/>
        </p:nvSpPr>
        <p:spPr>
          <a:xfrm>
            <a:off x="63054" y="3941357"/>
            <a:ext cx="1776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leaf level</a:t>
            </a:r>
            <a:endParaRPr lang="nl-BE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5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" grpId="0" animBg="1"/>
      <p:bldP spid="95" grpId="0" animBg="1"/>
      <p:bldP spid="96" grpId="0" animBg="1"/>
      <p:bldP spid="97" grpId="0"/>
      <p:bldP spid="98" grpId="0"/>
      <p:bldP spid="9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3EB2A-3319-D741-AD7B-D6E954C3A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6DD12E4-8083-8AEB-1C5F-946B2818AC69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F5A1D1-1376-508B-AB4C-B753634123FE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B17228-0306-BA0E-1592-4261F8C17B59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045A4C-3CE7-8737-8730-CF92F9F668A9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322C70-234F-62C0-13AA-0372ECF948FB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6B2B28-4CA9-F74C-E799-0DDC999311CE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75CA6A-D0E9-8E27-C37B-9D9EBCBAA8FD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1EC38FA-875A-E399-50A6-5C87B26BCED9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777C7E1-4321-BC07-FFE2-B0537F801DB5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23CBD2C-7FE2-3092-07D9-B59DE1DD1069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5A1B83E-811D-4B60-6BBB-6426A30826DB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1FCC550-1128-3987-B743-0064DD3F8AA4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AB930A4-919C-0E15-0D5F-92CA151D91E7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541C068-1692-6CDE-7B36-DB47E2C517CE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C56C766-1650-C5E3-4BBF-F42B73514DC6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E0637171-66C6-D98B-2BC9-EC0318449219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297B2E0-CF24-A8E9-0426-4D46383EB701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59385BA8-D160-6988-5D7F-BD21FA2AC446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E0A1331-71AA-1665-FB20-6FF2C3680F1E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937A20FD-9B5C-5A4F-A9FF-F66EB974F7A1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E0ABFCA-FD36-87D7-898C-C04D10F6ED1D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C08FE91-C18D-DC1B-1BEF-21A60D81B2B5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7743012-CEF4-D4B2-053D-EEF3CE2A8B84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2666F6AE-2EC3-FAB2-B956-1609B775F0F1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7C80DC04-9F08-623D-DD77-AA48271C5F33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6682D745-70E6-BF7B-B424-95948DFD1EA7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19F9E768-5189-05ED-67CA-C00A5DB5DE26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796E47F-C9E8-C9AB-083A-294564226BF6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C82AC211-44FD-756D-428E-03797CC39DC1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13CF2E23-F4BE-4649-C501-14A1E5837CE0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275D7FC6-3852-A90B-FDEE-0B8F3B352382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7F4AE62B-225E-8F06-6EEA-303E949DDAE4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262D3E6F-C629-7E9E-0677-2E3FC3265D4F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7DE60FE-E36A-9118-E537-A41E56A9F1E8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8346CCA-C1EE-341F-1F10-ADA5CBD5E54E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0F309F5-3E57-EC9E-4F00-B1B536BFC724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9E37AD1-0D87-B6D2-5F17-6B6821B7AA28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EA5D90FA-02C1-A273-9CE5-9E6891280F92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1B66D5F-1B53-09F2-C77C-CD62E52DCC1D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830773-DC4E-8F3D-8C73-AF8DE675CF56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554ECAD-FFEC-E801-0772-685005430A85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D19CA9-10E3-1802-F3C3-4D6AB6C08F18}"/>
              </a:ext>
            </a:extLst>
          </p:cNvPr>
          <p:cNvSpPr txBox="1"/>
          <p:nvPr/>
        </p:nvSpPr>
        <p:spPr>
          <a:xfrm>
            <a:off x="807599" y="419443"/>
            <a:ext cx="30934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Table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Column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latin typeface="Consolas" panose="020B0609020204030204" pitchFamily="49" charset="0"/>
              </a:rPr>
              <a:t> 15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907C674-A1E5-C837-4C0C-A77110041DD0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E85C764-4659-2332-CFEC-D937DC21C549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180BA7B-6ACF-1447-C1B9-BD790B4DFD12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6860E2-A7E0-2694-A9D1-C9AA403A1547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CA0CA83-2E90-5124-7F96-7EFBF8407497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FA0467C-BCB5-0614-CAFF-AC96DD316980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2B8BA1A-855D-7E75-7750-4F32C4F57D8B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D4C6C40-ABA0-6FB0-9F96-75CA17C76BDA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2A7739A-E818-02C5-7D68-1BB20C886079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65F83E1-1142-5641-FC7E-2BA52AC4CCE1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DC2F629-D5C0-47FC-46D5-D674590C0C67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90A029-D5A6-7A13-1684-C2FEC98AB395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3FC1D5E-125B-119E-618A-195A151A6B38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A80BDD8-7049-A755-58A5-34F1FFAE7711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28426A-6EBD-4472-42B6-7B51432C2DA2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5E4E2F2-2130-B5A3-47B1-025DBBCB0987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365378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0B9B47-C502-44A0-3B77-5ACCE67326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290DFD-2850-FA96-D9BF-007D92BC34B1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F366AB-8634-B3F2-C2B2-E6F0DBF64614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A33D8A-8D61-C716-E071-A636E5BAA397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E8C827-3C14-F797-CA6B-036E8EA1C70A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B14C3E-21FD-B192-ECB8-B81E269F3983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BA51BB-21EE-0BA0-31A0-034CF09D9978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A450E0-007A-4C72-381E-7723B8403DFB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4A2D415-C8CB-B964-93F5-4B80E36D48A7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978172F-5EB4-8E1F-C84B-98A1C69318EE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14F0EF1-77F0-EF8F-44AC-85F4A9AC0AC0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B492DB2-A7E1-E944-503A-2F20E2C1B6B7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5AA76280-DFBB-F472-773A-3223C3767D80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87CE2F-D04D-B506-9BD3-FC8ACF15B072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E609F21-0899-B91F-E167-447491949FF3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FBEB449-3781-D6A0-680A-E90F378C0CE3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92A1EDB-E104-7A12-47D6-776749DE634F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30417C0-89D7-9A36-A6F1-41FC56E41ADB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3806945-FBA7-EAA4-B28D-715545055E37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99857E6-352F-76AD-4C91-A56B594D90FD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C4086BD-F24F-C9B9-D10F-FB856959FF87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585801C-B651-C230-73FF-76BFB410E8D9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6EC0D240-560D-FC62-DD8F-A44B4B8BE12F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0EE7809-F80E-9068-07A3-1E017954BDC2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B37EBF6-BBA4-0C38-28FD-D807C8FD18B6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9BEC97EA-9574-BB86-46B1-79FF64C75571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F5A13611-4FCF-CDD6-DA78-847F1B736648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3C850D-F305-3F5F-656E-9018CCE2C34D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0790E558-F946-340C-B434-F46ED335EE76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6B44212-096F-6C76-7C9E-DD06D90FCB89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8F984020-BDED-423D-7ECF-21E5107261A6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2E40C688-EA92-A8DD-F707-B6E99013BC6E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A4C1600-85BB-C313-93EC-32C0B27E54A0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2B2D817-4577-379A-055C-A3A892497EBD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4B41F89-50D7-1516-914D-B30FBCBE73F2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A11C92D-B2E8-416F-5092-4D7B45B4AC29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A7BD76-3640-4C9B-120E-B4DA7DF61854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AF4E600-4DF6-23A3-676D-CE46D4513E0E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884B453-DC9E-2CFA-34A9-3A177DE11608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558D820-05D1-7CA7-0698-FB2CD8707A0A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36627ED-C1F8-3284-8DD5-A12B517A4FCE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C883708-AC14-07AA-28C2-B98DE302750D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751AE2-C1A7-D138-FE25-CF4E9DFB27B5}"/>
              </a:ext>
            </a:extLst>
          </p:cNvPr>
          <p:cNvSpPr txBox="1"/>
          <p:nvPr/>
        </p:nvSpPr>
        <p:spPr>
          <a:xfrm>
            <a:off x="807599" y="419443"/>
            <a:ext cx="30934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Table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Column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latin typeface="Consolas" panose="020B0609020204030204" pitchFamily="49" charset="0"/>
              </a:rPr>
              <a:t> 15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DA8099A-9E70-E930-D9B7-6D45EE1E1C4E}"/>
              </a:ext>
            </a:extLst>
          </p:cNvPr>
          <p:cNvCxnSpPr>
            <a:stCxn id="8" idx="59"/>
          </p:cNvCxnSpPr>
          <p:nvPr/>
        </p:nvCxnSpPr>
        <p:spPr>
          <a:xfrm flipV="1">
            <a:off x="3448280" y="5221995"/>
            <a:ext cx="187286" cy="198304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5D3AA0B-09DA-1CBE-1798-7F07E1526635}"/>
              </a:ext>
            </a:extLst>
          </p:cNvPr>
          <p:cNvCxnSpPr>
            <a:cxnSpLocks/>
            <a:endCxn id="8" idx="59"/>
          </p:cNvCxnSpPr>
          <p:nvPr/>
        </p:nvCxnSpPr>
        <p:spPr>
          <a:xfrm>
            <a:off x="3263674" y="5221995"/>
            <a:ext cx="184606" cy="198304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506591C-3E81-4033-B73D-C645645DC06F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63223A9-474B-3F46-5547-35C170F3B059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E7E10E0-4E84-F05C-C7C3-1DD29656E846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0F7C86F-5E45-4B2B-B1D8-72BAB0375D66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C3BF909-D5B8-5EBF-2E55-BC9BE53BAA2A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BE3AD96-1754-6DBE-710E-CCBAA17012A9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153A8FD-032A-9405-34F6-32C2C4C36516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10E32FB-C212-5300-C836-E66492115134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0CE574BB-E94F-FED8-F722-1B5D7EBB8AA4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C31187D-3664-8DC8-5D19-DC0BD368C645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97954DA-681D-AA72-B861-4AD1F24D8ADD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D117F77-CF54-9319-162B-8807B662DC9D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8ADC39B-4211-9C0F-8E79-68C27D02799F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456F11C-6E4F-3064-56A7-E91435D53696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09F1EF7-387F-71D7-ADB2-E3A13517A2A8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0998811-7EAD-0DA6-55B9-6B3B6EAE5ECD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DFCBD31-0687-CCBA-AD30-E356DE457077}"/>
              </a:ext>
            </a:extLst>
          </p:cNvPr>
          <p:cNvSpPr/>
          <p:nvPr/>
        </p:nvSpPr>
        <p:spPr>
          <a:xfrm>
            <a:off x="3426180" y="1663547"/>
            <a:ext cx="2060220" cy="3756752"/>
          </a:xfrm>
          <a:custGeom>
            <a:avLst/>
            <a:gdLst>
              <a:gd name="connsiteX0" fmla="*/ 2060220 w 2060220"/>
              <a:gd name="connsiteY0" fmla="*/ 0 h 3756752"/>
              <a:gd name="connsiteX1" fmla="*/ 1839883 w 2060220"/>
              <a:gd name="connsiteY1" fmla="*/ 110169 h 3756752"/>
              <a:gd name="connsiteX2" fmla="*/ 1498360 w 2060220"/>
              <a:gd name="connsiteY2" fmla="*/ 187287 h 3756752"/>
              <a:gd name="connsiteX3" fmla="*/ 1311073 w 2060220"/>
              <a:gd name="connsiteY3" fmla="*/ 220337 h 3756752"/>
              <a:gd name="connsiteX4" fmla="*/ 1013618 w 2060220"/>
              <a:gd name="connsiteY4" fmla="*/ 297455 h 3756752"/>
              <a:gd name="connsiteX5" fmla="*/ 594977 w 2060220"/>
              <a:gd name="connsiteY5" fmla="*/ 363557 h 3756752"/>
              <a:gd name="connsiteX6" fmla="*/ 506842 w 2060220"/>
              <a:gd name="connsiteY6" fmla="*/ 385590 h 3756752"/>
              <a:gd name="connsiteX7" fmla="*/ 418707 w 2060220"/>
              <a:gd name="connsiteY7" fmla="*/ 418641 h 3756752"/>
              <a:gd name="connsiteX8" fmla="*/ 341589 w 2060220"/>
              <a:gd name="connsiteY8" fmla="*/ 451692 h 3756752"/>
              <a:gd name="connsiteX9" fmla="*/ 198369 w 2060220"/>
              <a:gd name="connsiteY9" fmla="*/ 550843 h 3756752"/>
              <a:gd name="connsiteX10" fmla="*/ 121251 w 2060220"/>
              <a:gd name="connsiteY10" fmla="*/ 627961 h 3756752"/>
              <a:gd name="connsiteX11" fmla="*/ 99218 w 2060220"/>
              <a:gd name="connsiteY11" fmla="*/ 661012 h 3756752"/>
              <a:gd name="connsiteX12" fmla="*/ 77184 w 2060220"/>
              <a:gd name="connsiteY12" fmla="*/ 749147 h 3756752"/>
              <a:gd name="connsiteX13" fmla="*/ 66167 w 2060220"/>
              <a:gd name="connsiteY13" fmla="*/ 782198 h 3756752"/>
              <a:gd name="connsiteX14" fmla="*/ 88201 w 2060220"/>
              <a:gd name="connsiteY14" fmla="*/ 870333 h 3756752"/>
              <a:gd name="connsiteX15" fmla="*/ 176336 w 2060220"/>
              <a:gd name="connsiteY15" fmla="*/ 958467 h 3756752"/>
              <a:gd name="connsiteX16" fmla="*/ 264471 w 2060220"/>
              <a:gd name="connsiteY16" fmla="*/ 1035586 h 3756752"/>
              <a:gd name="connsiteX17" fmla="*/ 308538 w 2060220"/>
              <a:gd name="connsiteY17" fmla="*/ 1101687 h 3756752"/>
              <a:gd name="connsiteX18" fmla="*/ 396673 w 2060220"/>
              <a:gd name="connsiteY18" fmla="*/ 1178805 h 3756752"/>
              <a:gd name="connsiteX19" fmla="*/ 462774 w 2060220"/>
              <a:gd name="connsiteY19" fmla="*/ 1222872 h 3756752"/>
              <a:gd name="connsiteX20" fmla="*/ 506842 w 2060220"/>
              <a:gd name="connsiteY20" fmla="*/ 1233889 h 3756752"/>
              <a:gd name="connsiteX21" fmla="*/ 550909 w 2060220"/>
              <a:gd name="connsiteY21" fmla="*/ 1266940 h 3756752"/>
              <a:gd name="connsiteX22" fmla="*/ 628027 w 2060220"/>
              <a:gd name="connsiteY22" fmla="*/ 1299990 h 3756752"/>
              <a:gd name="connsiteX23" fmla="*/ 672095 w 2060220"/>
              <a:gd name="connsiteY23" fmla="*/ 1322024 h 3756752"/>
              <a:gd name="connsiteX24" fmla="*/ 727179 w 2060220"/>
              <a:gd name="connsiteY24" fmla="*/ 1355075 h 3756752"/>
              <a:gd name="connsiteX25" fmla="*/ 760230 w 2060220"/>
              <a:gd name="connsiteY25" fmla="*/ 1388125 h 3756752"/>
              <a:gd name="connsiteX26" fmla="*/ 815314 w 2060220"/>
              <a:gd name="connsiteY26" fmla="*/ 1432193 h 3756752"/>
              <a:gd name="connsiteX27" fmla="*/ 848365 w 2060220"/>
              <a:gd name="connsiteY27" fmla="*/ 1454226 h 3756752"/>
              <a:gd name="connsiteX28" fmla="*/ 892432 w 2060220"/>
              <a:gd name="connsiteY28" fmla="*/ 1487277 h 3756752"/>
              <a:gd name="connsiteX29" fmla="*/ 925483 w 2060220"/>
              <a:gd name="connsiteY29" fmla="*/ 1509311 h 3756752"/>
              <a:gd name="connsiteX30" fmla="*/ 980567 w 2060220"/>
              <a:gd name="connsiteY30" fmla="*/ 1575412 h 3756752"/>
              <a:gd name="connsiteX31" fmla="*/ 991584 w 2060220"/>
              <a:gd name="connsiteY31" fmla="*/ 1619480 h 3756752"/>
              <a:gd name="connsiteX32" fmla="*/ 1002601 w 2060220"/>
              <a:gd name="connsiteY32" fmla="*/ 1652530 h 3756752"/>
              <a:gd name="connsiteX33" fmla="*/ 991584 w 2060220"/>
              <a:gd name="connsiteY33" fmla="*/ 1773716 h 3756752"/>
              <a:gd name="connsiteX34" fmla="*/ 958533 w 2060220"/>
              <a:gd name="connsiteY34" fmla="*/ 1828800 h 3756752"/>
              <a:gd name="connsiteX35" fmla="*/ 914466 w 2060220"/>
              <a:gd name="connsiteY35" fmla="*/ 1905918 h 3756752"/>
              <a:gd name="connsiteX36" fmla="*/ 826331 w 2060220"/>
              <a:gd name="connsiteY36" fmla="*/ 1994053 h 3756752"/>
              <a:gd name="connsiteX37" fmla="*/ 782263 w 2060220"/>
              <a:gd name="connsiteY37" fmla="*/ 2027104 h 3756752"/>
              <a:gd name="connsiteX38" fmla="*/ 749213 w 2060220"/>
              <a:gd name="connsiteY38" fmla="*/ 2049137 h 3756752"/>
              <a:gd name="connsiteX39" fmla="*/ 716162 w 2060220"/>
              <a:gd name="connsiteY39" fmla="*/ 2082188 h 3756752"/>
              <a:gd name="connsiteX40" fmla="*/ 650061 w 2060220"/>
              <a:gd name="connsiteY40" fmla="*/ 2115239 h 3756752"/>
              <a:gd name="connsiteX41" fmla="*/ 572943 w 2060220"/>
              <a:gd name="connsiteY41" fmla="*/ 2170323 h 3756752"/>
              <a:gd name="connsiteX42" fmla="*/ 506842 w 2060220"/>
              <a:gd name="connsiteY42" fmla="*/ 2236424 h 3756752"/>
              <a:gd name="connsiteX43" fmla="*/ 462774 w 2060220"/>
              <a:gd name="connsiteY43" fmla="*/ 2258458 h 3756752"/>
              <a:gd name="connsiteX44" fmla="*/ 418707 w 2060220"/>
              <a:gd name="connsiteY44" fmla="*/ 2302525 h 3756752"/>
              <a:gd name="connsiteX45" fmla="*/ 385656 w 2060220"/>
              <a:gd name="connsiteY45" fmla="*/ 2324559 h 3756752"/>
              <a:gd name="connsiteX46" fmla="*/ 330572 w 2060220"/>
              <a:gd name="connsiteY46" fmla="*/ 2368626 h 3756752"/>
              <a:gd name="connsiteX47" fmla="*/ 253454 w 2060220"/>
              <a:gd name="connsiteY47" fmla="*/ 2456761 h 3756752"/>
              <a:gd name="connsiteX48" fmla="*/ 220403 w 2060220"/>
              <a:gd name="connsiteY48" fmla="*/ 2489812 h 3756752"/>
              <a:gd name="connsiteX49" fmla="*/ 198369 w 2060220"/>
              <a:gd name="connsiteY49" fmla="*/ 2522863 h 3756752"/>
              <a:gd name="connsiteX50" fmla="*/ 165319 w 2060220"/>
              <a:gd name="connsiteY50" fmla="*/ 2566930 h 3756752"/>
              <a:gd name="connsiteX51" fmla="*/ 143285 w 2060220"/>
              <a:gd name="connsiteY51" fmla="*/ 2599981 h 3756752"/>
              <a:gd name="connsiteX52" fmla="*/ 77184 w 2060220"/>
              <a:gd name="connsiteY52" fmla="*/ 2710149 h 3756752"/>
              <a:gd name="connsiteX53" fmla="*/ 55150 w 2060220"/>
              <a:gd name="connsiteY53" fmla="*/ 2820318 h 3756752"/>
              <a:gd name="connsiteX54" fmla="*/ 44133 w 2060220"/>
              <a:gd name="connsiteY54" fmla="*/ 3283026 h 3756752"/>
              <a:gd name="connsiteX55" fmla="*/ 33116 w 2060220"/>
              <a:gd name="connsiteY55" fmla="*/ 3360145 h 3756752"/>
              <a:gd name="connsiteX56" fmla="*/ 11083 w 2060220"/>
              <a:gd name="connsiteY56" fmla="*/ 3404212 h 3756752"/>
              <a:gd name="connsiteX57" fmla="*/ 11083 w 2060220"/>
              <a:gd name="connsiteY57" fmla="*/ 3657600 h 3756752"/>
              <a:gd name="connsiteX58" fmla="*/ 33116 w 2060220"/>
              <a:gd name="connsiteY58" fmla="*/ 3701667 h 3756752"/>
              <a:gd name="connsiteX59" fmla="*/ 22100 w 2060220"/>
              <a:gd name="connsiteY59" fmla="*/ 3756752 h 3756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2060220" h="3756752">
                <a:moveTo>
                  <a:pt x="2060220" y="0"/>
                </a:moveTo>
                <a:cubicBezTo>
                  <a:pt x="1970145" y="90075"/>
                  <a:pt x="2016206" y="60437"/>
                  <a:pt x="1839883" y="110169"/>
                </a:cubicBezTo>
                <a:cubicBezTo>
                  <a:pt x="1554288" y="190722"/>
                  <a:pt x="1664269" y="161091"/>
                  <a:pt x="1498360" y="187287"/>
                </a:cubicBezTo>
                <a:cubicBezTo>
                  <a:pt x="1490105" y="188590"/>
                  <a:pt x="1350273" y="210537"/>
                  <a:pt x="1311073" y="220337"/>
                </a:cubicBezTo>
                <a:cubicBezTo>
                  <a:pt x="1198157" y="248566"/>
                  <a:pt x="1155130" y="277239"/>
                  <a:pt x="1013618" y="297455"/>
                </a:cubicBezTo>
                <a:cubicBezTo>
                  <a:pt x="832690" y="323302"/>
                  <a:pt x="747643" y="329632"/>
                  <a:pt x="594977" y="363557"/>
                </a:cubicBezTo>
                <a:cubicBezTo>
                  <a:pt x="565416" y="370126"/>
                  <a:pt x="535746" y="376558"/>
                  <a:pt x="506842" y="385590"/>
                </a:cubicBezTo>
                <a:cubicBezTo>
                  <a:pt x="476894" y="394949"/>
                  <a:pt x="447839" y="406988"/>
                  <a:pt x="418707" y="418641"/>
                </a:cubicBezTo>
                <a:cubicBezTo>
                  <a:pt x="392740" y="429028"/>
                  <a:pt x="365571" y="437303"/>
                  <a:pt x="341589" y="451692"/>
                </a:cubicBezTo>
                <a:cubicBezTo>
                  <a:pt x="291799" y="481566"/>
                  <a:pt x="245806" y="517359"/>
                  <a:pt x="198369" y="550843"/>
                </a:cubicBezTo>
                <a:cubicBezTo>
                  <a:pt x="147584" y="586691"/>
                  <a:pt x="157348" y="577425"/>
                  <a:pt x="121251" y="627961"/>
                </a:cubicBezTo>
                <a:cubicBezTo>
                  <a:pt x="113555" y="638735"/>
                  <a:pt x="105139" y="649169"/>
                  <a:pt x="99218" y="661012"/>
                </a:cubicBezTo>
                <a:cubicBezTo>
                  <a:pt x="86626" y="686196"/>
                  <a:pt x="83470" y="724003"/>
                  <a:pt x="77184" y="749147"/>
                </a:cubicBezTo>
                <a:cubicBezTo>
                  <a:pt x="74367" y="760413"/>
                  <a:pt x="69839" y="771181"/>
                  <a:pt x="66167" y="782198"/>
                </a:cubicBezTo>
                <a:cubicBezTo>
                  <a:pt x="73512" y="811576"/>
                  <a:pt x="72151" y="844654"/>
                  <a:pt x="88201" y="870333"/>
                </a:cubicBezTo>
                <a:cubicBezTo>
                  <a:pt x="110221" y="905565"/>
                  <a:pt x="143099" y="933538"/>
                  <a:pt x="176336" y="958467"/>
                </a:cubicBezTo>
                <a:cubicBezTo>
                  <a:pt x="211808" y="985072"/>
                  <a:pt x="235946" y="999930"/>
                  <a:pt x="264471" y="1035586"/>
                </a:cubicBezTo>
                <a:cubicBezTo>
                  <a:pt x="281014" y="1056264"/>
                  <a:pt x="289813" y="1082962"/>
                  <a:pt x="308538" y="1101687"/>
                </a:cubicBezTo>
                <a:cubicBezTo>
                  <a:pt x="354142" y="1147290"/>
                  <a:pt x="346105" y="1143407"/>
                  <a:pt x="396673" y="1178805"/>
                </a:cubicBezTo>
                <a:cubicBezTo>
                  <a:pt x="418367" y="1193991"/>
                  <a:pt x="439089" y="1211029"/>
                  <a:pt x="462774" y="1222872"/>
                </a:cubicBezTo>
                <a:cubicBezTo>
                  <a:pt x="476317" y="1229643"/>
                  <a:pt x="492153" y="1230217"/>
                  <a:pt x="506842" y="1233889"/>
                </a:cubicBezTo>
                <a:cubicBezTo>
                  <a:pt x="521531" y="1244906"/>
                  <a:pt x="535339" y="1257209"/>
                  <a:pt x="550909" y="1266940"/>
                </a:cubicBezTo>
                <a:cubicBezTo>
                  <a:pt x="604049" y="1300152"/>
                  <a:pt x="580326" y="1279547"/>
                  <a:pt x="628027" y="1299990"/>
                </a:cubicBezTo>
                <a:cubicBezTo>
                  <a:pt x="643122" y="1306459"/>
                  <a:pt x="657739" y="1314048"/>
                  <a:pt x="672095" y="1322024"/>
                </a:cubicBezTo>
                <a:cubicBezTo>
                  <a:pt x="690813" y="1332423"/>
                  <a:pt x="710049" y="1342227"/>
                  <a:pt x="727179" y="1355075"/>
                </a:cubicBezTo>
                <a:cubicBezTo>
                  <a:pt x="739643" y="1364423"/>
                  <a:pt x="748505" y="1377865"/>
                  <a:pt x="760230" y="1388125"/>
                </a:cubicBezTo>
                <a:cubicBezTo>
                  <a:pt x="777926" y="1403609"/>
                  <a:pt x="796503" y="1418085"/>
                  <a:pt x="815314" y="1432193"/>
                </a:cubicBezTo>
                <a:cubicBezTo>
                  <a:pt x="825906" y="1440137"/>
                  <a:pt x="837591" y="1446530"/>
                  <a:pt x="848365" y="1454226"/>
                </a:cubicBezTo>
                <a:cubicBezTo>
                  <a:pt x="863306" y="1464898"/>
                  <a:pt x="877491" y="1476605"/>
                  <a:pt x="892432" y="1487277"/>
                </a:cubicBezTo>
                <a:cubicBezTo>
                  <a:pt x="903206" y="1494973"/>
                  <a:pt x="915311" y="1500834"/>
                  <a:pt x="925483" y="1509311"/>
                </a:cubicBezTo>
                <a:cubicBezTo>
                  <a:pt x="957292" y="1535819"/>
                  <a:pt x="958902" y="1542915"/>
                  <a:pt x="980567" y="1575412"/>
                </a:cubicBezTo>
                <a:cubicBezTo>
                  <a:pt x="984239" y="1590101"/>
                  <a:pt x="987424" y="1604921"/>
                  <a:pt x="991584" y="1619480"/>
                </a:cubicBezTo>
                <a:cubicBezTo>
                  <a:pt x="994774" y="1630646"/>
                  <a:pt x="1002601" y="1640917"/>
                  <a:pt x="1002601" y="1652530"/>
                </a:cubicBezTo>
                <a:cubicBezTo>
                  <a:pt x="1002601" y="1693092"/>
                  <a:pt x="1001422" y="1734365"/>
                  <a:pt x="991584" y="1773716"/>
                </a:cubicBezTo>
                <a:cubicBezTo>
                  <a:pt x="986391" y="1794490"/>
                  <a:pt x="968932" y="1810082"/>
                  <a:pt x="958533" y="1828800"/>
                </a:cubicBezTo>
                <a:cubicBezTo>
                  <a:pt x="944663" y="1853766"/>
                  <a:pt x="934254" y="1884151"/>
                  <a:pt x="914466" y="1905918"/>
                </a:cubicBezTo>
                <a:cubicBezTo>
                  <a:pt x="886518" y="1936660"/>
                  <a:pt x="859569" y="1969125"/>
                  <a:pt x="826331" y="1994053"/>
                </a:cubicBezTo>
                <a:cubicBezTo>
                  <a:pt x="811642" y="2005070"/>
                  <a:pt x="797205" y="2016432"/>
                  <a:pt x="782263" y="2027104"/>
                </a:cubicBezTo>
                <a:cubicBezTo>
                  <a:pt x="771489" y="2034800"/>
                  <a:pt x="759385" y="2040661"/>
                  <a:pt x="749213" y="2049137"/>
                </a:cubicBezTo>
                <a:cubicBezTo>
                  <a:pt x="737244" y="2059111"/>
                  <a:pt x="729126" y="2073545"/>
                  <a:pt x="716162" y="2082188"/>
                </a:cubicBezTo>
                <a:cubicBezTo>
                  <a:pt x="695665" y="2095853"/>
                  <a:pt x="670558" y="2101574"/>
                  <a:pt x="650061" y="2115239"/>
                </a:cubicBezTo>
                <a:cubicBezTo>
                  <a:pt x="516069" y="2204567"/>
                  <a:pt x="725105" y="2094240"/>
                  <a:pt x="572943" y="2170323"/>
                </a:cubicBezTo>
                <a:cubicBezTo>
                  <a:pt x="546355" y="2210203"/>
                  <a:pt x="553692" y="2207143"/>
                  <a:pt x="506842" y="2236424"/>
                </a:cubicBezTo>
                <a:cubicBezTo>
                  <a:pt x="492915" y="2245128"/>
                  <a:pt x="475913" y="2248604"/>
                  <a:pt x="462774" y="2258458"/>
                </a:cubicBezTo>
                <a:cubicBezTo>
                  <a:pt x="446155" y="2270922"/>
                  <a:pt x="434479" y="2289006"/>
                  <a:pt x="418707" y="2302525"/>
                </a:cubicBezTo>
                <a:cubicBezTo>
                  <a:pt x="408654" y="2311142"/>
                  <a:pt x="396249" y="2316615"/>
                  <a:pt x="385656" y="2324559"/>
                </a:cubicBezTo>
                <a:cubicBezTo>
                  <a:pt x="366845" y="2338667"/>
                  <a:pt x="348147" y="2353004"/>
                  <a:pt x="330572" y="2368626"/>
                </a:cubicBezTo>
                <a:cubicBezTo>
                  <a:pt x="265443" y="2426518"/>
                  <a:pt x="306108" y="2395332"/>
                  <a:pt x="253454" y="2456761"/>
                </a:cubicBezTo>
                <a:cubicBezTo>
                  <a:pt x="243314" y="2468591"/>
                  <a:pt x="230377" y="2477843"/>
                  <a:pt x="220403" y="2489812"/>
                </a:cubicBezTo>
                <a:cubicBezTo>
                  <a:pt x="211926" y="2499984"/>
                  <a:pt x="206065" y="2512089"/>
                  <a:pt x="198369" y="2522863"/>
                </a:cubicBezTo>
                <a:cubicBezTo>
                  <a:pt x="187697" y="2537804"/>
                  <a:pt x="175991" y="2551989"/>
                  <a:pt x="165319" y="2566930"/>
                </a:cubicBezTo>
                <a:cubicBezTo>
                  <a:pt x="157623" y="2577704"/>
                  <a:pt x="150981" y="2589207"/>
                  <a:pt x="143285" y="2599981"/>
                </a:cubicBezTo>
                <a:cubicBezTo>
                  <a:pt x="106533" y="2651434"/>
                  <a:pt x="103581" y="2644156"/>
                  <a:pt x="77184" y="2710149"/>
                </a:cubicBezTo>
                <a:cubicBezTo>
                  <a:pt x="67793" y="2733627"/>
                  <a:pt x="58265" y="2801627"/>
                  <a:pt x="55150" y="2820318"/>
                </a:cubicBezTo>
                <a:cubicBezTo>
                  <a:pt x="51478" y="2974554"/>
                  <a:pt x="50425" y="3128875"/>
                  <a:pt x="44133" y="3283026"/>
                </a:cubicBezTo>
                <a:cubicBezTo>
                  <a:pt x="43074" y="3308972"/>
                  <a:pt x="39948" y="3335093"/>
                  <a:pt x="33116" y="3360145"/>
                </a:cubicBezTo>
                <a:cubicBezTo>
                  <a:pt x="28795" y="3375989"/>
                  <a:pt x="18427" y="3389523"/>
                  <a:pt x="11083" y="3404212"/>
                </a:cubicBezTo>
                <a:cubicBezTo>
                  <a:pt x="3416" y="3503880"/>
                  <a:pt x="-9462" y="3561720"/>
                  <a:pt x="11083" y="3657600"/>
                </a:cubicBezTo>
                <a:cubicBezTo>
                  <a:pt x="14524" y="3673658"/>
                  <a:pt x="25772" y="3686978"/>
                  <a:pt x="33116" y="3701667"/>
                </a:cubicBezTo>
                <a:lnTo>
                  <a:pt x="22100" y="3756752"/>
                </a:lnTo>
              </a:path>
            </a:pathLst>
          </a:custGeom>
          <a:noFill/>
          <a:ln w="571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8110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5F296-A597-E2AF-F31F-F0ADF507A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4BA8E4-9F04-9A58-901C-62EDDA6FECCA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51F4F7-BC77-17BD-5EEA-DE97C21A55DE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37AEBB-437F-6DE0-7571-2E611EB62E3D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C0FDC9-CF26-9EE9-95A4-54B1EAF2B4DA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E76264-7045-85EB-241C-8F3D7DD97247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7DE84DE-405B-E8F5-CBDA-9BE55E95293B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CD05F5-417C-E746-B9FB-5556CE733A6F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B0CA407-FB2D-71C2-9C7C-854AE7221067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97B5325C-F9F5-6180-9EC5-2D509740ABD2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7573518-5009-AF11-B4F8-AB88703C3C79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50C01A0-233E-2D60-269C-92013F0955FF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539304D-AD1C-FFE8-3E94-2CF423488DA4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E1FE725-7570-A969-B3AF-ADA8E20FA0F7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92CADC10-5BE0-0F6A-FCFE-BF0BE031E35B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39669DA-5FF2-4593-313D-217B922A84BA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D466780E-0D79-AC3A-415C-ED62F81A4250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7B291D16-5C0F-F895-2084-28A0F02B620C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16A2163-F028-945A-A778-223D276E8ED3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26722CF-4C65-47CC-58E6-007C525782C4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D7D899C-F1E5-A04D-3119-8587B9EC9B42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18FBC70-4C1E-C2FA-C459-8DD5AC1BD543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3B5B7034-9DC0-29E4-9FDD-CCA245498366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0779383-D67B-EB70-7310-7681CF6968FC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D39BA6D-B7BC-A048-6E50-C7C4218624AB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16AE785-3E2E-E25C-A8F5-EF6EFABC7E1B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1986D9EA-1D73-22FD-2B6C-537A882BA86E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81C18EB4-3CD7-5549-692C-28BEAE4E0E61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EE8588A-87C9-745C-D6E3-5C451C8777ED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6FFE6030-01AA-483A-D44E-BA5FBE70D57D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0D909B8C-375C-EB4A-6FE7-8127345749F2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80612460-7DA9-81BF-E9F3-C853C5603B5F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8539FFC-5E83-4905-F8B6-D0580420A7B4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31F572DA-FFA7-BA19-7B46-4CBBA3F3B3E9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4BA276-8839-E390-10CD-373C84858778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ED6A64D-E3E8-6D86-1102-EEE2FB1074C1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3BF7D7A-3CCF-6457-D522-802818E9ADDB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2864B89-60DC-4C79-87E4-268A63AA1690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48D403D-014A-DCC8-8658-83357DA5E5B0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2B0DA2E-0099-1D94-2C15-D0BB25D8CBA6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2FE9CD6-D242-C292-9389-82CA82615E56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DAA2713-EF1F-39CF-64D7-89B7013E8A85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8ED906-ED0D-C705-4D81-6AA81DF6D87A}"/>
              </a:ext>
            </a:extLst>
          </p:cNvPr>
          <p:cNvSpPr txBox="1"/>
          <p:nvPr/>
        </p:nvSpPr>
        <p:spPr>
          <a:xfrm>
            <a:off x="807599" y="419443"/>
            <a:ext cx="30934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Table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Column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en-US" dirty="0">
                <a:latin typeface="Consolas" panose="020B0609020204030204" pitchFamily="49" charset="0"/>
              </a:rPr>
              <a:t> 22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91C599CC-915D-7B58-983B-28E2D0D6516B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846BCA8F-ECEB-8697-4FDE-AFB93C0A0CFC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27EFC9B-E714-2FD4-E51C-C36C7AAA03A4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7EA334B-FDBC-5AEB-D08E-913C90FB0F04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4EC4536-3B77-7400-82F5-CBF7785D5E4C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7F89521-C00D-9D09-FDAC-B59B0B140BC4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AAD8DA2-5307-CBF3-5524-50B58680F177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29127C4-E88E-2871-8823-43AAA7B5A57A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A32C95A-6A08-A1A0-95F8-3EBC117DCAB2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571D1C3-6AD9-B30E-979A-E39FD1EB4A06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B962DD9-9963-7A14-BF11-F1C5C9586DB8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A9527AB-BC76-91F7-F1D7-7D27CD19A871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EFF558E-48F7-1C59-BAEE-3F4CBDB0C8CE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7A5DBE2-A837-0ED4-231F-247408695CA1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0D4A6D2-7AC1-6C40-44B4-AC410E66DBD0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AC02212-58F1-E077-93AA-AB535BF0E64D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CB16051-7A0F-502B-1E47-AC3DD1E0FCDE}"/>
              </a:ext>
            </a:extLst>
          </p:cNvPr>
          <p:cNvSpPr/>
          <p:nvPr/>
        </p:nvSpPr>
        <p:spPr>
          <a:xfrm>
            <a:off x="6181725" y="1714500"/>
            <a:ext cx="1876425" cy="3343275"/>
          </a:xfrm>
          <a:custGeom>
            <a:avLst/>
            <a:gdLst>
              <a:gd name="connsiteX0" fmla="*/ 552450 w 1876425"/>
              <a:gd name="connsiteY0" fmla="*/ 0 h 3343275"/>
              <a:gd name="connsiteX1" fmla="*/ 781050 w 1876425"/>
              <a:gd name="connsiteY1" fmla="*/ 133350 h 3343275"/>
              <a:gd name="connsiteX2" fmla="*/ 1133475 w 1876425"/>
              <a:gd name="connsiteY2" fmla="*/ 266700 h 3343275"/>
              <a:gd name="connsiteX3" fmla="*/ 1371600 w 1876425"/>
              <a:gd name="connsiteY3" fmla="*/ 333375 h 3343275"/>
              <a:gd name="connsiteX4" fmla="*/ 1600200 w 1876425"/>
              <a:gd name="connsiteY4" fmla="*/ 409575 h 3343275"/>
              <a:gd name="connsiteX5" fmla="*/ 1685925 w 1876425"/>
              <a:gd name="connsiteY5" fmla="*/ 457200 h 3343275"/>
              <a:gd name="connsiteX6" fmla="*/ 1752600 w 1876425"/>
              <a:gd name="connsiteY6" fmla="*/ 523875 h 3343275"/>
              <a:gd name="connsiteX7" fmla="*/ 1838325 w 1876425"/>
              <a:gd name="connsiteY7" fmla="*/ 628650 h 3343275"/>
              <a:gd name="connsiteX8" fmla="*/ 1857375 w 1876425"/>
              <a:gd name="connsiteY8" fmla="*/ 666750 h 3343275"/>
              <a:gd name="connsiteX9" fmla="*/ 1866900 w 1876425"/>
              <a:gd name="connsiteY9" fmla="*/ 704850 h 3343275"/>
              <a:gd name="connsiteX10" fmla="*/ 1876425 w 1876425"/>
              <a:gd name="connsiteY10" fmla="*/ 733425 h 3343275"/>
              <a:gd name="connsiteX11" fmla="*/ 1857375 w 1876425"/>
              <a:gd name="connsiteY11" fmla="*/ 885825 h 3343275"/>
              <a:gd name="connsiteX12" fmla="*/ 1790700 w 1876425"/>
              <a:gd name="connsiteY12" fmla="*/ 1019175 h 3343275"/>
              <a:gd name="connsiteX13" fmla="*/ 1743075 w 1876425"/>
              <a:gd name="connsiteY13" fmla="*/ 1133475 h 3343275"/>
              <a:gd name="connsiteX14" fmla="*/ 1695450 w 1876425"/>
              <a:gd name="connsiteY14" fmla="*/ 1209675 h 3343275"/>
              <a:gd name="connsiteX15" fmla="*/ 1676400 w 1876425"/>
              <a:gd name="connsiteY15" fmla="*/ 1238250 h 3343275"/>
              <a:gd name="connsiteX16" fmla="*/ 1619250 w 1876425"/>
              <a:gd name="connsiteY16" fmla="*/ 1257300 h 3343275"/>
              <a:gd name="connsiteX17" fmla="*/ 1552575 w 1876425"/>
              <a:gd name="connsiteY17" fmla="*/ 1295400 h 3343275"/>
              <a:gd name="connsiteX18" fmla="*/ 1400175 w 1876425"/>
              <a:gd name="connsiteY18" fmla="*/ 1352550 h 3343275"/>
              <a:gd name="connsiteX19" fmla="*/ 1352550 w 1876425"/>
              <a:gd name="connsiteY19" fmla="*/ 1371600 h 3343275"/>
              <a:gd name="connsiteX20" fmla="*/ 1181100 w 1876425"/>
              <a:gd name="connsiteY20" fmla="*/ 1419225 h 3343275"/>
              <a:gd name="connsiteX21" fmla="*/ 962025 w 1876425"/>
              <a:gd name="connsiteY21" fmla="*/ 1495425 h 3343275"/>
              <a:gd name="connsiteX22" fmla="*/ 895350 w 1876425"/>
              <a:gd name="connsiteY22" fmla="*/ 1524000 h 3343275"/>
              <a:gd name="connsiteX23" fmla="*/ 838200 w 1876425"/>
              <a:gd name="connsiteY23" fmla="*/ 1562100 h 3343275"/>
              <a:gd name="connsiteX24" fmla="*/ 762000 w 1876425"/>
              <a:gd name="connsiteY24" fmla="*/ 1619250 h 3343275"/>
              <a:gd name="connsiteX25" fmla="*/ 733425 w 1876425"/>
              <a:gd name="connsiteY25" fmla="*/ 1638300 h 3343275"/>
              <a:gd name="connsiteX26" fmla="*/ 628650 w 1876425"/>
              <a:gd name="connsiteY26" fmla="*/ 1752600 h 3343275"/>
              <a:gd name="connsiteX27" fmla="*/ 600075 w 1876425"/>
              <a:gd name="connsiteY27" fmla="*/ 1800225 h 3343275"/>
              <a:gd name="connsiteX28" fmla="*/ 457200 w 1876425"/>
              <a:gd name="connsiteY28" fmla="*/ 1971675 h 3343275"/>
              <a:gd name="connsiteX29" fmla="*/ 238125 w 1876425"/>
              <a:gd name="connsiteY29" fmla="*/ 2209800 h 3343275"/>
              <a:gd name="connsiteX30" fmla="*/ 171450 w 1876425"/>
              <a:gd name="connsiteY30" fmla="*/ 2314575 h 3343275"/>
              <a:gd name="connsiteX31" fmla="*/ 114300 w 1876425"/>
              <a:gd name="connsiteY31" fmla="*/ 2419350 h 3343275"/>
              <a:gd name="connsiteX32" fmla="*/ 85725 w 1876425"/>
              <a:gd name="connsiteY32" fmla="*/ 2466975 h 3343275"/>
              <a:gd name="connsiteX33" fmla="*/ 57150 w 1876425"/>
              <a:gd name="connsiteY33" fmla="*/ 2524125 h 3343275"/>
              <a:gd name="connsiteX34" fmla="*/ 28575 w 1876425"/>
              <a:gd name="connsiteY34" fmla="*/ 2609850 h 3343275"/>
              <a:gd name="connsiteX35" fmla="*/ 19050 w 1876425"/>
              <a:gd name="connsiteY35" fmla="*/ 2895600 h 3343275"/>
              <a:gd name="connsiteX36" fmla="*/ 9525 w 1876425"/>
              <a:gd name="connsiteY36" fmla="*/ 2924175 h 3343275"/>
              <a:gd name="connsiteX37" fmla="*/ 0 w 1876425"/>
              <a:gd name="connsiteY37" fmla="*/ 3009900 h 3343275"/>
              <a:gd name="connsiteX38" fmla="*/ 9525 w 1876425"/>
              <a:gd name="connsiteY38" fmla="*/ 3219450 h 3343275"/>
              <a:gd name="connsiteX39" fmla="*/ 0 w 1876425"/>
              <a:gd name="connsiteY39" fmla="*/ 3343275 h 3343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876425" h="3343275">
                <a:moveTo>
                  <a:pt x="552450" y="0"/>
                </a:moveTo>
                <a:cubicBezTo>
                  <a:pt x="628650" y="44450"/>
                  <a:pt x="699401" y="99948"/>
                  <a:pt x="781050" y="133350"/>
                </a:cubicBezTo>
                <a:cubicBezTo>
                  <a:pt x="938546" y="197780"/>
                  <a:pt x="984537" y="222019"/>
                  <a:pt x="1133475" y="266700"/>
                </a:cubicBezTo>
                <a:cubicBezTo>
                  <a:pt x="1212427" y="290385"/>
                  <a:pt x="1292123" y="311519"/>
                  <a:pt x="1371600" y="333375"/>
                </a:cubicBezTo>
                <a:cubicBezTo>
                  <a:pt x="1533533" y="377907"/>
                  <a:pt x="1476511" y="352488"/>
                  <a:pt x="1600200" y="409575"/>
                </a:cubicBezTo>
                <a:cubicBezTo>
                  <a:pt x="1620420" y="418907"/>
                  <a:pt x="1671027" y="444785"/>
                  <a:pt x="1685925" y="457200"/>
                </a:cubicBezTo>
                <a:cubicBezTo>
                  <a:pt x="1710071" y="477322"/>
                  <a:pt x="1731213" y="500843"/>
                  <a:pt x="1752600" y="523875"/>
                </a:cubicBezTo>
                <a:cubicBezTo>
                  <a:pt x="1765132" y="537371"/>
                  <a:pt x="1821987" y="602509"/>
                  <a:pt x="1838325" y="628650"/>
                </a:cubicBezTo>
                <a:cubicBezTo>
                  <a:pt x="1845850" y="640691"/>
                  <a:pt x="1852389" y="653455"/>
                  <a:pt x="1857375" y="666750"/>
                </a:cubicBezTo>
                <a:cubicBezTo>
                  <a:pt x="1861972" y="679007"/>
                  <a:pt x="1863304" y="692263"/>
                  <a:pt x="1866900" y="704850"/>
                </a:cubicBezTo>
                <a:cubicBezTo>
                  <a:pt x="1869658" y="714504"/>
                  <a:pt x="1873250" y="723900"/>
                  <a:pt x="1876425" y="733425"/>
                </a:cubicBezTo>
                <a:cubicBezTo>
                  <a:pt x="1870075" y="784225"/>
                  <a:pt x="1866533" y="835455"/>
                  <a:pt x="1857375" y="885825"/>
                </a:cubicBezTo>
                <a:cubicBezTo>
                  <a:pt x="1844762" y="955199"/>
                  <a:pt x="1825238" y="950099"/>
                  <a:pt x="1790700" y="1019175"/>
                </a:cubicBezTo>
                <a:cubicBezTo>
                  <a:pt x="1772241" y="1056092"/>
                  <a:pt x="1761534" y="1096558"/>
                  <a:pt x="1743075" y="1133475"/>
                </a:cubicBezTo>
                <a:cubicBezTo>
                  <a:pt x="1713239" y="1193147"/>
                  <a:pt x="1736666" y="1151973"/>
                  <a:pt x="1695450" y="1209675"/>
                </a:cubicBezTo>
                <a:cubicBezTo>
                  <a:pt x="1688796" y="1218990"/>
                  <a:pt x="1686108" y="1232183"/>
                  <a:pt x="1676400" y="1238250"/>
                </a:cubicBezTo>
                <a:cubicBezTo>
                  <a:pt x="1659372" y="1248893"/>
                  <a:pt x="1637482" y="1248885"/>
                  <a:pt x="1619250" y="1257300"/>
                </a:cubicBezTo>
                <a:cubicBezTo>
                  <a:pt x="1596008" y="1268027"/>
                  <a:pt x="1575736" y="1284501"/>
                  <a:pt x="1552575" y="1295400"/>
                </a:cubicBezTo>
                <a:cubicBezTo>
                  <a:pt x="1470623" y="1333965"/>
                  <a:pt x="1471009" y="1326792"/>
                  <a:pt x="1400175" y="1352550"/>
                </a:cubicBezTo>
                <a:cubicBezTo>
                  <a:pt x="1384107" y="1358393"/>
                  <a:pt x="1368892" y="1366572"/>
                  <a:pt x="1352550" y="1371600"/>
                </a:cubicBezTo>
                <a:cubicBezTo>
                  <a:pt x="1195702" y="1419861"/>
                  <a:pt x="1362819" y="1356322"/>
                  <a:pt x="1181100" y="1419225"/>
                </a:cubicBezTo>
                <a:cubicBezTo>
                  <a:pt x="923992" y="1508224"/>
                  <a:pt x="1116256" y="1451359"/>
                  <a:pt x="962025" y="1495425"/>
                </a:cubicBezTo>
                <a:cubicBezTo>
                  <a:pt x="858014" y="1564766"/>
                  <a:pt x="1018365" y="1462493"/>
                  <a:pt x="895350" y="1524000"/>
                </a:cubicBezTo>
                <a:cubicBezTo>
                  <a:pt x="874872" y="1534239"/>
                  <a:pt x="856831" y="1548792"/>
                  <a:pt x="838200" y="1562100"/>
                </a:cubicBezTo>
                <a:cubicBezTo>
                  <a:pt x="812364" y="1580554"/>
                  <a:pt x="788418" y="1601638"/>
                  <a:pt x="762000" y="1619250"/>
                </a:cubicBezTo>
                <a:cubicBezTo>
                  <a:pt x="752475" y="1625600"/>
                  <a:pt x="742117" y="1630850"/>
                  <a:pt x="733425" y="1638300"/>
                </a:cubicBezTo>
                <a:cubicBezTo>
                  <a:pt x="706272" y="1661574"/>
                  <a:pt x="641734" y="1735590"/>
                  <a:pt x="628650" y="1752600"/>
                </a:cubicBezTo>
                <a:cubicBezTo>
                  <a:pt x="617362" y="1767274"/>
                  <a:pt x="611023" y="1785296"/>
                  <a:pt x="600075" y="1800225"/>
                </a:cubicBezTo>
                <a:cubicBezTo>
                  <a:pt x="577420" y="1831118"/>
                  <a:pt x="488702" y="1940173"/>
                  <a:pt x="457200" y="1971675"/>
                </a:cubicBezTo>
                <a:cubicBezTo>
                  <a:pt x="410045" y="2018830"/>
                  <a:pt x="271962" y="2150585"/>
                  <a:pt x="238125" y="2209800"/>
                </a:cubicBezTo>
                <a:cubicBezTo>
                  <a:pt x="144922" y="2372906"/>
                  <a:pt x="244673" y="2204741"/>
                  <a:pt x="171450" y="2314575"/>
                </a:cubicBezTo>
                <a:cubicBezTo>
                  <a:pt x="135666" y="2368251"/>
                  <a:pt x="146841" y="2359691"/>
                  <a:pt x="114300" y="2419350"/>
                </a:cubicBezTo>
                <a:cubicBezTo>
                  <a:pt x="105435" y="2435603"/>
                  <a:pt x="94590" y="2450722"/>
                  <a:pt x="85725" y="2466975"/>
                </a:cubicBezTo>
                <a:cubicBezTo>
                  <a:pt x="75526" y="2485673"/>
                  <a:pt x="65060" y="2504350"/>
                  <a:pt x="57150" y="2524125"/>
                </a:cubicBezTo>
                <a:cubicBezTo>
                  <a:pt x="45963" y="2552091"/>
                  <a:pt x="28575" y="2609850"/>
                  <a:pt x="28575" y="2609850"/>
                </a:cubicBezTo>
                <a:cubicBezTo>
                  <a:pt x="25400" y="2705100"/>
                  <a:pt x="24815" y="2800472"/>
                  <a:pt x="19050" y="2895600"/>
                </a:cubicBezTo>
                <a:cubicBezTo>
                  <a:pt x="18443" y="2905622"/>
                  <a:pt x="11176" y="2914271"/>
                  <a:pt x="9525" y="2924175"/>
                </a:cubicBezTo>
                <a:cubicBezTo>
                  <a:pt x="4798" y="2952535"/>
                  <a:pt x="3175" y="2981325"/>
                  <a:pt x="0" y="3009900"/>
                </a:cubicBezTo>
                <a:cubicBezTo>
                  <a:pt x="3175" y="3079750"/>
                  <a:pt x="9525" y="3149528"/>
                  <a:pt x="9525" y="3219450"/>
                </a:cubicBezTo>
                <a:cubicBezTo>
                  <a:pt x="9525" y="3260847"/>
                  <a:pt x="0" y="3343275"/>
                  <a:pt x="0" y="3343275"/>
                </a:cubicBezTo>
              </a:path>
            </a:pathLst>
          </a:custGeom>
          <a:noFill/>
          <a:ln w="571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8FACDB6-4F4F-1320-CAD7-3AD7D436967C}"/>
              </a:ext>
            </a:extLst>
          </p:cNvPr>
          <p:cNvCxnSpPr>
            <a:cxnSpLocks/>
          </p:cNvCxnSpPr>
          <p:nvPr/>
        </p:nvCxnSpPr>
        <p:spPr>
          <a:xfrm>
            <a:off x="6181725" y="5029200"/>
            <a:ext cx="5019675" cy="0"/>
          </a:xfrm>
          <a:prstGeom prst="straightConnector1">
            <a:avLst/>
          </a:prstGeom>
          <a:noFill/>
          <a:ln w="5715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67333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EAA7EB-D4B0-25EC-F32D-86FEB9F35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ta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3F9FE-8992-CC94-3C99-6AFA033654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BE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]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 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CI_myindex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…)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 = PAG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)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LTER TABLE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DD CONSTRAINT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PK_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PRIMARY KEY CLUSTERED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…)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 = PAG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)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43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76A21A7-31FB-6C07-2494-67FB3546D764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8FFEBB8-4B82-FA2D-18F2-9BB43A926701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C7344B4D-ED77-202E-5DF2-993EF82BB952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FAC632FF-E665-16D7-730B-49BAD1D8F2C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3EE4CBC7-9232-EBFC-27E0-4CFA48214138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1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4EEA936B-540F-F83A-686C-B6E380769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E51D36D-2ABB-2D67-E386-5D0BE9B499E8}"/>
              </a:ext>
            </a:extLst>
          </p:cNvPr>
          <p:cNvSpPr txBox="1"/>
          <p:nvPr/>
        </p:nvSpPr>
        <p:spPr>
          <a:xfrm>
            <a:off x="1074298" y="743293"/>
            <a:ext cx="38406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</a:p>
          <a:p>
            <a:r>
              <a:rPr lang="nl-BE" dirty="0">
                <a:latin typeface="Consolas" panose="020B0609020204030204" pitchFamily="49" charset="0"/>
              </a:rPr>
              <a:t>     </a:t>
            </a:r>
            <a:r>
              <a:rPr lang="nl-BE" dirty="0" err="1">
                <a:latin typeface="Consolas" panose="020B0609020204030204" pitchFamily="49" charset="0"/>
              </a:rPr>
              <a:t>SalesOrderID</a:t>
            </a:r>
            <a:endParaRPr lang="nl-BE" dirty="0">
              <a:latin typeface="Consolas" panose="020B0609020204030204" pitchFamily="49" charset="0"/>
            </a:endParaRPr>
          </a:p>
          <a:p>
            <a:r>
              <a:rPr lang="nl-BE" dirty="0"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dirty="0" err="1">
                <a:latin typeface="Consolas" panose="020B0609020204030204" pitchFamily="49" charset="0"/>
              </a:rPr>
              <a:t>OrderDate</a:t>
            </a:r>
            <a:endParaRPr lang="nl-BE" dirty="0">
              <a:latin typeface="Consolas" panose="020B0609020204030204" pitchFamily="49" charset="0"/>
            </a:endParaRPr>
          </a:p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dirty="0">
                <a:latin typeface="Consolas" panose="020B0609020204030204" pitchFamily="49" charset="0"/>
              </a:rPr>
              <a:t> </a:t>
            </a:r>
            <a:r>
              <a:rPr lang="nl-BE" dirty="0" err="1">
                <a:latin typeface="Consolas" panose="020B0609020204030204" pitchFamily="49" charset="0"/>
              </a:rPr>
              <a:t>Sales</a:t>
            </a:r>
            <a:r>
              <a:rPr lang="nl-BE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dirty="0" err="1">
                <a:latin typeface="Consolas" panose="020B0609020204030204" pitchFamily="49" charset="0"/>
              </a:rPr>
              <a:t>SalesOrderHeader</a:t>
            </a:r>
            <a:endParaRPr lang="nl-BE" dirty="0">
              <a:latin typeface="Consolas" panose="020B0609020204030204" pitchFamily="49" charset="0"/>
            </a:endParaRPr>
          </a:p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dirty="0">
                <a:latin typeface="Consolas" panose="020B0609020204030204" pitchFamily="49" charset="0"/>
              </a:rPr>
              <a:t> </a:t>
            </a:r>
            <a:r>
              <a:rPr lang="nl-BE" dirty="0" err="1">
                <a:latin typeface="Consolas" panose="020B0609020204030204" pitchFamily="49" charset="0"/>
              </a:rPr>
              <a:t>SalesOrderID</a:t>
            </a:r>
            <a:r>
              <a:rPr lang="nl-BE" dirty="0">
                <a:latin typeface="Consolas" panose="020B0609020204030204" pitchFamily="49" charset="0"/>
              </a:rPr>
              <a:t> = 68864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AC79A2-E460-1575-2787-E406755C46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4298" y="2511684"/>
            <a:ext cx="8101414" cy="362241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9BD9DC-C062-90E2-A2BF-EC16FC94C0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4899" y="3493743"/>
            <a:ext cx="6480000" cy="4883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47094F-BDA0-9ED1-EBC4-6D9F2AF3B8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4898" y="5490195"/>
            <a:ext cx="6480000" cy="45113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31262B1-D476-79BB-0101-8BD3F8335669}"/>
              </a:ext>
            </a:extLst>
          </p:cNvPr>
          <p:cNvSpPr/>
          <p:nvPr/>
        </p:nvSpPr>
        <p:spPr>
          <a:xfrm>
            <a:off x="8486775" y="3648075"/>
            <a:ext cx="1552575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0FD2DF-BC7A-2BA7-2CE9-F6BB27E62CCC}"/>
              </a:ext>
            </a:extLst>
          </p:cNvPr>
          <p:cNvSpPr/>
          <p:nvPr/>
        </p:nvSpPr>
        <p:spPr>
          <a:xfrm>
            <a:off x="8382000" y="5653253"/>
            <a:ext cx="1485900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F79DEBA-85C7-0FF2-31DC-8EE5A1D807CC}"/>
              </a:ext>
            </a:extLst>
          </p:cNvPr>
          <p:cNvCxnSpPr/>
          <p:nvPr/>
        </p:nvCxnSpPr>
        <p:spPr>
          <a:xfrm>
            <a:off x="9648825" y="4032539"/>
            <a:ext cx="0" cy="162071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6B676299-71B7-3783-B7A6-678FD18145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24099" y="4077045"/>
            <a:ext cx="1680336" cy="1446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63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9B20F31-CB2A-5984-51A4-E605E8AB7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8539D1F4-0C1E-08F7-2A63-3EB4686B79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298" y="2992909"/>
            <a:ext cx="7648337" cy="349425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B5FE6FB-F10A-5D3A-A970-661D16ABE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4298" y="3002979"/>
            <a:ext cx="7648337" cy="349425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07A3D238-9FA8-3812-B571-3185CB7D4047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2F9862A-570B-B6AA-7D22-9E78EAD427B7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9F12D1E2-A3DC-BDF1-EC10-ECE95EE8B486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66B5356-9941-C4F6-420E-E76496645B5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91AB3BEC-9A7D-B146-4D4D-57F3F05FCEF4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2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72695C37-84BF-8DA5-FD3B-82CDFDFB6D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FC14BD8-EBB5-F29D-CDCE-645839640DC2}"/>
              </a:ext>
            </a:extLst>
          </p:cNvPr>
          <p:cNvSpPr txBox="1"/>
          <p:nvPr/>
        </p:nvSpPr>
        <p:spPr>
          <a:xfrm>
            <a:off x="1074298" y="743293"/>
            <a:ext cx="472642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Header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68864</a:t>
            </a: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&lt;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90000</a:t>
            </a: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47F4A5-94E3-EE66-069B-8DCD94D0D2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2773" y="3911501"/>
            <a:ext cx="5700254" cy="50296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4F48393-1860-5A24-DADA-CB3F23CD499B}"/>
              </a:ext>
            </a:extLst>
          </p:cNvPr>
          <p:cNvSpPr/>
          <p:nvPr/>
        </p:nvSpPr>
        <p:spPr>
          <a:xfrm>
            <a:off x="8215255" y="4112939"/>
            <a:ext cx="1552575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32AE82F-DD86-50D1-3655-A7D128887DD1}"/>
              </a:ext>
            </a:extLst>
          </p:cNvPr>
          <p:cNvCxnSpPr>
            <a:cxnSpLocks/>
          </p:cNvCxnSpPr>
          <p:nvPr/>
        </p:nvCxnSpPr>
        <p:spPr>
          <a:xfrm>
            <a:off x="9248775" y="4497403"/>
            <a:ext cx="0" cy="118534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ABEC9B0A-8222-C97B-E799-83662960EB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2773" y="5671060"/>
            <a:ext cx="5448772" cy="3734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127D954-8086-85E9-A8AD-C4F208546A9B}"/>
              </a:ext>
            </a:extLst>
          </p:cNvPr>
          <p:cNvSpPr/>
          <p:nvPr/>
        </p:nvSpPr>
        <p:spPr>
          <a:xfrm>
            <a:off x="7894656" y="5682743"/>
            <a:ext cx="1485900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D1D3F7A-4E33-2AB7-4F1F-8957A601536B}"/>
              </a:ext>
            </a:extLst>
          </p:cNvPr>
          <p:cNvCxnSpPr>
            <a:cxnSpLocks/>
          </p:cNvCxnSpPr>
          <p:nvPr/>
        </p:nvCxnSpPr>
        <p:spPr>
          <a:xfrm flipH="1" flipV="1">
            <a:off x="2771775" y="3911501"/>
            <a:ext cx="590550" cy="50296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61F3CE2A-51B5-190B-72D3-D434AC082453}"/>
              </a:ext>
            </a:extLst>
          </p:cNvPr>
          <p:cNvSpPr txBox="1"/>
          <p:nvPr/>
        </p:nvSpPr>
        <p:spPr>
          <a:xfrm>
            <a:off x="2943225" y="4425593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whoops</a:t>
            </a:r>
            <a:endParaRPr lang="nl-BE" dirty="0">
              <a:solidFill>
                <a:srgbClr val="FF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79A7B24-5D0F-A1F6-701B-4D25F0A220A8}"/>
              </a:ext>
            </a:extLst>
          </p:cNvPr>
          <p:cNvSpPr/>
          <p:nvPr/>
        </p:nvSpPr>
        <p:spPr>
          <a:xfrm>
            <a:off x="3151205" y="4938523"/>
            <a:ext cx="3963969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597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  <p:bldP spid="28" grpId="0"/>
      <p:bldP spid="3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b="0" i="0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 dirty="0"/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 dirty="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 dirty="0"/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870" y="2086575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5" y="4231650"/>
            <a:ext cx="1567499" cy="1011148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1FEBA406-336B-63FB-C353-14F9C7EA9518}"/>
              </a:ext>
            </a:extLst>
          </p:cNvPr>
          <p:cNvGrpSpPr/>
          <p:nvPr/>
        </p:nvGrpSpPr>
        <p:grpSpPr>
          <a:xfrm>
            <a:off x="5253217" y="1927169"/>
            <a:ext cx="3905687" cy="3573947"/>
            <a:chOff x="4773977" y="1927169"/>
            <a:chExt cx="3905687" cy="3573947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73977" y="1927169"/>
              <a:ext cx="3905687" cy="3573947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7051C6D-78B1-59B7-B9BC-3EBEC011A325}"/>
                </a:ext>
              </a:extLst>
            </p:cNvPr>
            <p:cNvSpPr/>
            <p:nvPr/>
          </p:nvSpPr>
          <p:spPr>
            <a:xfrm>
              <a:off x="5620241" y="2482055"/>
              <a:ext cx="2080350" cy="817158"/>
            </a:xfrm>
            <a:prstGeom prst="rect">
              <a:avLst/>
            </a:prstGeom>
            <a:solidFill>
              <a:srgbClr val="0141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 </a:t>
              </a:r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EF421D3E-7995-26AF-CF10-33BB35995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8482" y="2655817"/>
              <a:ext cx="1218766" cy="491726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6696D23-0EF0-7C20-D99D-C68772852727}"/>
                </a:ext>
              </a:extLst>
            </p:cNvPr>
            <p:cNvSpPr/>
            <p:nvPr/>
          </p:nvSpPr>
          <p:spPr>
            <a:xfrm>
              <a:off x="5609728" y="3296832"/>
              <a:ext cx="2080350" cy="817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 </a:t>
              </a:r>
            </a:p>
          </p:txBody>
        </p:sp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F88F488C-16AD-9784-A4AE-1BF536324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9679" y="3361158"/>
              <a:ext cx="1217568" cy="686891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525E048-F11C-88F7-7DCF-4621B519458A}"/>
              </a:ext>
            </a:extLst>
          </p:cNvPr>
          <p:cNvSpPr txBox="1"/>
          <p:nvPr/>
        </p:nvSpPr>
        <p:spPr>
          <a:xfrm>
            <a:off x="6044317" y="2420599"/>
            <a:ext cx="10030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  <a:latin typeface="Consolas" panose="020B0609020204030204" pitchFamily="49" charset="0"/>
              </a:rPr>
              <a:t>former</a:t>
            </a:r>
            <a:endParaRPr lang="nl-BE" sz="1600" dirty="0">
              <a:solidFill>
                <a:srgbClr val="FF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27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21CEE-B023-94AB-F4CE-D8665E8EF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acteristics of a clustered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664037-4985-BC91-BA6E-CA4E5BA5A7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oesn’t have to be unique</a:t>
            </a:r>
          </a:p>
          <a:p>
            <a:r>
              <a:rPr lang="en-US" dirty="0"/>
              <a:t>limit the number of columns</a:t>
            </a:r>
          </a:p>
          <a:p>
            <a:pPr lvl="1"/>
            <a:r>
              <a:rPr lang="en-US" dirty="0"/>
              <a:t>preferably small data types</a:t>
            </a:r>
          </a:p>
          <a:p>
            <a:pPr lvl="1"/>
            <a:r>
              <a:rPr lang="en-US" dirty="0"/>
              <a:t>preferably unique and NOT NULL</a:t>
            </a:r>
          </a:p>
          <a:p>
            <a:pPr lvl="1"/>
            <a:r>
              <a:rPr lang="en-US" dirty="0"/>
              <a:t>preferably high cardinality</a:t>
            </a:r>
          </a:p>
          <a:p>
            <a:pPr lvl="1"/>
            <a:r>
              <a:rPr lang="en-US" dirty="0"/>
              <a:t>columns ordered from</a:t>
            </a:r>
            <a:br>
              <a:rPr lang="en-US" dirty="0"/>
            </a:br>
            <a:r>
              <a:rPr lang="en-US" dirty="0"/>
              <a:t>the most distinct to the least</a:t>
            </a:r>
          </a:p>
          <a:p>
            <a:pPr lvl="1"/>
            <a:endParaRPr lang="en-US" dirty="0"/>
          </a:p>
          <a:p>
            <a:r>
              <a:rPr lang="en-US" dirty="0"/>
              <a:t>OLTP</a:t>
            </a:r>
          </a:p>
          <a:p>
            <a:pPr lvl="1"/>
            <a:r>
              <a:rPr lang="en-US" dirty="0"/>
              <a:t>typically the PK</a:t>
            </a:r>
          </a:p>
          <a:p>
            <a:r>
              <a:rPr lang="nl-BE" dirty="0"/>
              <a:t>OLAP</a:t>
            </a:r>
          </a:p>
          <a:p>
            <a:pPr lvl="1"/>
            <a:r>
              <a:rPr lang="en-US" noProof="0" dirty="0"/>
              <a:t>surrogate key in dimensions</a:t>
            </a:r>
          </a:p>
          <a:p>
            <a:pPr lvl="1"/>
            <a:r>
              <a:rPr lang="nl-BE" dirty="0" err="1"/>
              <a:t>fact</a:t>
            </a:r>
            <a:r>
              <a:rPr lang="nl-BE" dirty="0"/>
              <a:t> </a:t>
            </a:r>
            <a:r>
              <a:rPr lang="nl-BE" dirty="0" err="1"/>
              <a:t>table</a:t>
            </a:r>
            <a:r>
              <a:rPr lang="nl-BE" dirty="0"/>
              <a:t>: </a:t>
            </a:r>
            <a:r>
              <a:rPr lang="nl-BE" dirty="0" err="1"/>
              <a:t>it</a:t>
            </a:r>
            <a:r>
              <a:rPr lang="nl-BE" dirty="0"/>
              <a:t> </a:t>
            </a:r>
            <a:r>
              <a:rPr lang="nl-BE" dirty="0" err="1"/>
              <a:t>depends</a:t>
            </a:r>
            <a:endParaRPr lang="nl-BE" dirty="0"/>
          </a:p>
          <a:p>
            <a:pPr lvl="1"/>
            <a:endParaRPr lang="nl-BE" dirty="0"/>
          </a:p>
          <a:p>
            <a:r>
              <a:rPr lang="nl-BE" dirty="0" err="1"/>
              <a:t>apply</a:t>
            </a:r>
            <a:r>
              <a:rPr lang="nl-BE" dirty="0"/>
              <a:t> (page) </a:t>
            </a:r>
            <a:r>
              <a:rPr lang="nl-BE" dirty="0" err="1"/>
              <a:t>compression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save </a:t>
            </a:r>
            <a:r>
              <a:rPr lang="nl-BE" dirty="0" err="1"/>
              <a:t>space</a:t>
            </a:r>
            <a:endParaRPr lang="nl-BE" dirty="0"/>
          </a:p>
        </p:txBody>
      </p:sp>
      <p:pic>
        <p:nvPicPr>
          <p:cNvPr id="2050" name="Picture 2" descr="CAN There Be Only One? – CoinRoutes Blog">
            <a:extLst>
              <a:ext uri="{FF2B5EF4-FFF2-40B4-BE49-F238E27FC236}">
                <a16:creationId xmlns:a16="http://schemas.microsoft.com/office/drawing/2014/main" id="{5677551F-C0C8-C9FA-9384-BC306F1F5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525" y="1457011"/>
            <a:ext cx="5181600" cy="307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495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4A509F-B6E8-4D3B-F8C0-78956345AE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F96FDD0-9A72-3114-C820-0DF1A8EF5D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Nonclustered</a:t>
            </a:r>
            <a:r>
              <a:rPr lang="en-US" dirty="0">
                <a:solidFill>
                  <a:schemeClr val="bg1"/>
                </a:solidFill>
              </a:rPr>
              <a:t> Indexes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84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Blog - What is a book Index?">
            <a:extLst>
              <a:ext uri="{FF2B5EF4-FFF2-40B4-BE49-F238E27FC236}">
                <a16:creationId xmlns:a16="http://schemas.microsoft.com/office/drawing/2014/main" id="{696777B4-047F-77B9-F02A-B660BAF6A5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39" y="1064385"/>
            <a:ext cx="6910321" cy="503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311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F9B42-0A96-A783-E6DF-F1B41531D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A9140-2F16-06D4-BA4A-EE0EAB4CBC11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</a:t>
            </a:r>
            <a:endParaRPr lang="nl-B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506B1D-ED83-04F7-8E6D-6DA4DF59F666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0ECB67-3B94-1D88-14A7-49897C9C98C4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A577C58-D1C7-F84F-34D4-186198F6D039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  <a:endParaRPr lang="nl-B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FDAF39-58BC-6E54-B1B1-103D83B2E9D0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E2DB28-D37A-E80D-139E-46D801ABE9A0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0E8810-CF2D-FE1E-655C-59D1D223C7D7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</a:t>
            </a:r>
            <a:endParaRPr lang="nl-BE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3B2E7F8-4725-C46C-E8C0-6F892FAF7D54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75FF628-5FD6-7738-9473-531E927947C9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30A188F-A299-29E0-107E-830B0A470103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2CC684F-9E07-C652-BB59-3019D6935792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11FE27A-0167-0D1B-A080-38216C5D5BB8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50A78B7-65E9-4978-E001-BADF2B01AA93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F58CBD0-3E9F-F1AA-B39F-7CE783C990BB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84CDED3-E27E-79DD-0C13-F09BD77E951B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A5E233-39E3-7464-72B8-B012982795D5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1515431-3114-72A9-B892-A27D49CBB9AA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0956AAB-C21B-7AE5-AD6A-5E35EE619547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7C03A73-BF08-3BB9-82C6-25833FD2839F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67A62E8-593C-7EA5-681C-E1E774ED0F32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03BDA8F-EE2E-5F45-F1A5-8A3710B8AAA5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3E5381E-4D8D-F05A-13FA-4B30A9B9EE69}"/>
              </a:ext>
            </a:extLst>
          </p:cNvPr>
          <p:cNvCxnSpPr>
            <a:cxnSpLocks/>
            <a:stCxn id="6" idx="3"/>
            <a:endCxn id="3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A2A16D9-54B4-B99D-F889-446260287CF1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5D4F946-5B0B-3667-4281-02461EA1EEDE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2191831-61DC-7A2D-2729-802E63D8BDD9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A555490-2F78-B7D7-3136-6891A696249D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70F4C06-59B8-2C7A-2116-2AA9FBDBE074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6203DFA-6050-1693-400C-7484E2002F70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1B47263-46CC-C31F-6380-8550DCE0A8AA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57344A9-6DB9-5761-B399-AB706D377E42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5FC8F9F-B487-761F-6418-BE0E0A215CB3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06E5B05E-638C-4396-6867-A014B5191077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C9300E6-CC12-89F5-64DF-62B243D45BB6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177969A-5ADF-E9EE-1729-0530E4F088D5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FAB251A-73D1-C84B-D588-76CA43103DAF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E08B96C-0C45-9218-E042-FD8E40F633CE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DA0F663-361B-13B2-A8AE-B374C122F441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C9229C0-2D29-06ED-84EE-4A2F0526DD6F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5F22DAC3-BAEC-242E-2571-67DB7DDFAD75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B3A2257-141B-EBAB-FA23-9BB4BAC77D04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BA17D624-4546-20CD-A842-EDCD28A54FDD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</a:t>
            </a:r>
            <a:endParaRPr lang="nl-BE" sz="20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4C3E524-6C1E-4C52-E935-BACD000776B3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A</a:t>
            </a:r>
            <a:endParaRPr lang="nl-BE" sz="20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2CD691A-AF26-FFAA-5406-36B66C89AAE9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</a:t>
            </a:r>
            <a:endParaRPr lang="nl-BE" sz="2000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64A7C7D-F83E-3951-BD97-45C1C2812A56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</a:t>
            </a:r>
            <a:endParaRPr lang="nl-BE" sz="20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E780CFD-B4BB-E2E1-2FCC-37509C57CCF9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E</a:t>
            </a:r>
            <a:endParaRPr lang="nl-BE" sz="20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DA09C96-DFEB-A327-09A2-7272FE4F355C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F</a:t>
            </a:r>
            <a:endParaRPr lang="nl-BE" sz="20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EA9C203-F782-2B3B-C202-1B6230BCC06C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G</a:t>
            </a:r>
            <a:endParaRPr lang="nl-BE" sz="20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EB837ED-549E-E4BE-D859-0FA78A30CA33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H</a:t>
            </a:r>
            <a:endParaRPr lang="nl-BE" sz="2000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B42221C-96F0-6B3E-16AB-DD5A90575460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 / Clustered Index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3B638A8-DB33-D0A8-819B-85A8252EBD86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0DF2AAE-202D-5A9B-8140-41AD24970995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CEE520-D42C-4F67-7CB6-01D506DBA407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02E36CE-13E9-B54A-490D-CF875C0EC325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468A985-8B60-F640-5EEA-E6F3A135963F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154612D-DBB5-7532-6E02-E848859FE377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92CCACC-85A6-596B-F203-FC38EC6762D6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86199B6-D39A-FC30-AEEB-1D30C856BC09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9087E86-894A-96B7-C1FC-DF71E0A0E30A}"/>
              </a:ext>
            </a:extLst>
          </p:cNvPr>
          <p:cNvSpPr/>
          <p:nvPr/>
        </p:nvSpPr>
        <p:spPr>
          <a:xfrm>
            <a:off x="46979" y="720306"/>
            <a:ext cx="11948794" cy="4217454"/>
          </a:xfrm>
          <a:prstGeom prst="rect">
            <a:avLst/>
          </a:prstGeom>
          <a:noFill/>
          <a:ln w="3810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428A206-8B97-14F7-29A6-7B44119A45D0}"/>
              </a:ext>
            </a:extLst>
          </p:cNvPr>
          <p:cNvSpPr txBox="1"/>
          <p:nvPr/>
        </p:nvSpPr>
        <p:spPr>
          <a:xfrm>
            <a:off x="835562" y="720306"/>
            <a:ext cx="29113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non-clustered index</a:t>
            </a:r>
            <a:endParaRPr lang="nl-BE" sz="20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99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6C8EB2-89E0-CFF1-388C-E8851DF093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4ECDD-FED6-EFDC-CFC3-540AACB81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synta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ED0F3B-6D1B-2411-2A08-B6B1F45DD9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BE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]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 NON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NCI_myindex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…)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 = PAG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)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45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55DDB-CDBD-84FC-53B7-2D4EBFD09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acteristics of a </a:t>
            </a:r>
            <a:r>
              <a:rPr lang="en-US" dirty="0" err="1"/>
              <a:t>nonclustered</a:t>
            </a:r>
            <a:r>
              <a:rPr lang="en-US" dirty="0"/>
              <a:t>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209080-EE32-D45F-7338-760D72E8E7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28067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oesn’t have to be unique</a:t>
            </a:r>
          </a:p>
          <a:p>
            <a:r>
              <a:rPr lang="en-US" dirty="0"/>
              <a:t>you can have </a:t>
            </a:r>
            <a:r>
              <a:rPr lang="en-US" b="1" dirty="0"/>
              <a:t>many different </a:t>
            </a:r>
            <a:r>
              <a:rPr lang="en-US" b="1" dirty="0" err="1"/>
              <a:t>nonclustered</a:t>
            </a:r>
            <a:r>
              <a:rPr lang="en-US" b="1" dirty="0"/>
              <a:t> indexes (NCI) on the same table</a:t>
            </a:r>
          </a:p>
          <a:p>
            <a:r>
              <a:rPr lang="en-US" dirty="0"/>
              <a:t>limit the number of columns</a:t>
            </a:r>
          </a:p>
          <a:p>
            <a:pPr lvl="1"/>
            <a:r>
              <a:rPr lang="en-US" dirty="0"/>
              <a:t>preferably small data types</a:t>
            </a:r>
          </a:p>
          <a:p>
            <a:pPr lvl="1"/>
            <a:r>
              <a:rPr lang="en-US" dirty="0"/>
              <a:t>preferably unique and NOT NULL</a:t>
            </a:r>
          </a:p>
          <a:p>
            <a:pPr lvl="1"/>
            <a:r>
              <a:rPr lang="en-US" dirty="0"/>
              <a:t>preferably high cardinality</a:t>
            </a:r>
          </a:p>
          <a:p>
            <a:pPr lvl="1"/>
            <a:r>
              <a:rPr lang="en-US" dirty="0"/>
              <a:t>columns ordered from</a:t>
            </a:r>
            <a:br>
              <a:rPr lang="en-US" dirty="0"/>
            </a:br>
            <a:r>
              <a:rPr lang="en-US" dirty="0"/>
              <a:t>the most distinct to the least</a:t>
            </a:r>
          </a:p>
          <a:p>
            <a:pPr lvl="1"/>
            <a:endParaRPr lang="en-US" dirty="0"/>
          </a:p>
          <a:p>
            <a:r>
              <a:rPr lang="en-US" dirty="0"/>
              <a:t>OLTP: foreign keys + uniqueness + any performance tuning</a:t>
            </a:r>
          </a:p>
          <a:p>
            <a:r>
              <a:rPr lang="en-US" dirty="0"/>
              <a:t>OLAP: uniqueness (business key in dim) + any performance tuning</a:t>
            </a:r>
          </a:p>
          <a:p>
            <a:endParaRPr lang="nl-BE" dirty="0"/>
          </a:p>
          <a:p>
            <a:r>
              <a:rPr lang="nl-BE" dirty="0" err="1"/>
              <a:t>try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make </a:t>
            </a:r>
            <a:r>
              <a:rPr lang="nl-BE" dirty="0" err="1"/>
              <a:t>the</a:t>
            </a:r>
            <a:r>
              <a:rPr lang="nl-BE" dirty="0"/>
              <a:t> index </a:t>
            </a:r>
            <a:r>
              <a:rPr lang="nl-BE" b="1" dirty="0" err="1"/>
              <a:t>covering</a:t>
            </a:r>
            <a:endParaRPr lang="nl-BE" b="1" dirty="0"/>
          </a:p>
          <a:p>
            <a:r>
              <a:rPr lang="nl-BE" dirty="0" err="1"/>
              <a:t>if</a:t>
            </a:r>
            <a:r>
              <a:rPr lang="nl-BE" dirty="0"/>
              <a:t> </a:t>
            </a:r>
            <a:r>
              <a:rPr lang="nl-BE" dirty="0" err="1"/>
              <a:t>clustered</a:t>
            </a:r>
            <a:r>
              <a:rPr lang="nl-BE" dirty="0"/>
              <a:t> index present, </a:t>
            </a:r>
            <a:r>
              <a:rPr lang="nl-BE" dirty="0" err="1"/>
              <a:t>its</a:t>
            </a:r>
            <a:r>
              <a:rPr lang="nl-BE" dirty="0"/>
              <a:t> </a:t>
            </a:r>
            <a:r>
              <a:rPr lang="nl-BE" dirty="0" err="1"/>
              <a:t>keys</a:t>
            </a:r>
            <a:r>
              <a:rPr lang="nl-BE" dirty="0"/>
              <a:t> are </a:t>
            </a:r>
            <a:r>
              <a:rPr lang="nl-BE" dirty="0" err="1"/>
              <a:t>included</a:t>
            </a:r>
            <a:r>
              <a:rPr lang="nl-BE" dirty="0"/>
              <a:t> in </a:t>
            </a:r>
            <a:r>
              <a:rPr lang="nl-BE" dirty="0" err="1"/>
              <a:t>the</a:t>
            </a:r>
            <a:r>
              <a:rPr lang="nl-BE" dirty="0"/>
              <a:t> NCI</a:t>
            </a:r>
          </a:p>
        </p:txBody>
      </p:sp>
    </p:spTree>
    <p:extLst>
      <p:ext uri="{BB962C8B-B14F-4D97-AF65-F5344CB8AC3E}">
        <p14:creationId xmlns:p14="http://schemas.microsoft.com/office/powerpoint/2010/main" val="410436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51A8E-5CF9-B96A-BCAB-BB77661C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covering index?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E40A4-53AE-334A-FD7B-8360D640E5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BusinessEntityID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LastName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FirstName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Title</a:t>
            </a:r>
            <a:b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b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LIK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V%'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D8CA0-8700-26ED-DD6D-3B73F17BC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5541" y="2892140"/>
            <a:ext cx="8945357" cy="336012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743935E-C078-9887-8704-48E2BBE01181}"/>
              </a:ext>
            </a:extLst>
          </p:cNvPr>
          <p:cNvSpPr/>
          <p:nvPr/>
        </p:nvSpPr>
        <p:spPr>
          <a:xfrm>
            <a:off x="3889375" y="4731807"/>
            <a:ext cx="2502949" cy="13811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FEB8289-6491-A343-512F-2975CA1D04A2}"/>
              </a:ext>
            </a:extLst>
          </p:cNvPr>
          <p:cNvCxnSpPr>
            <a:cxnSpLocks/>
          </p:cNvCxnSpPr>
          <p:nvPr/>
        </p:nvCxnSpPr>
        <p:spPr>
          <a:xfrm flipH="1">
            <a:off x="6392324" y="4487333"/>
            <a:ext cx="939809" cy="67733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E5594B4-21E8-F785-B37E-57709BD80A17}"/>
              </a:ext>
            </a:extLst>
          </p:cNvPr>
          <p:cNvSpPr txBox="1"/>
          <p:nvPr/>
        </p:nvSpPr>
        <p:spPr>
          <a:xfrm>
            <a:off x="7065432" y="4025668"/>
            <a:ext cx="18415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t good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52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FF587C-C800-7B59-07C8-FCA4CC5A9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3D626A-39AD-17FE-8C5E-166EB06FD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LUDE columns to the rescue!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F1EAE4-E198-194A-16DF-4EF9F66834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l-BE" sz="20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IX_Person_LastName_Covering</a:t>
            </a:r>
            <a:b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INCLUD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FirstNam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Titl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E8609A-D247-3AF4-9E23-ED7B300A78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3690565"/>
            <a:ext cx="9188415" cy="173656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424419B-D6C7-A437-F4AC-1DA28056099C}"/>
              </a:ext>
            </a:extLst>
          </p:cNvPr>
          <p:cNvSpPr/>
          <p:nvPr/>
        </p:nvSpPr>
        <p:spPr>
          <a:xfrm>
            <a:off x="1386426" y="2538919"/>
            <a:ext cx="3866510" cy="4018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8956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2CD9F74-2CE8-C4BB-A240-FE9602113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3B7168C6-4E43-6BEE-946C-122663566E57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852DA2AF-F67D-B695-E7D0-055569A90749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A7AA067-475A-3B09-8F48-E289372CF63D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65D1CABF-D4E8-4714-0034-9BB7B71380EE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EA9DA33-9952-6742-A313-BF35A8A11BC6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3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34E1B1F-8476-6740-7837-F5C571BE0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E7B318C-FB28-DF4F-C8A0-61EB66643621}"/>
              </a:ext>
            </a:extLst>
          </p:cNvPr>
          <p:cNvSpPr txBox="1"/>
          <p:nvPr/>
        </p:nvSpPr>
        <p:spPr>
          <a:xfrm>
            <a:off x="1074298" y="743293"/>
            <a:ext cx="78425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4B28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ELEC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usinessEntityI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LastNam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FirstNam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itle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ROM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erson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.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erson</a:t>
            </a:r>
            <a:b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stName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IKE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V%'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B3B30BF-B442-C4B8-D795-29BE32CB9436}"/>
              </a:ext>
            </a:extLst>
          </p:cNvPr>
          <p:cNvCxnSpPr>
            <a:cxnSpLocks/>
          </p:cNvCxnSpPr>
          <p:nvPr/>
        </p:nvCxnSpPr>
        <p:spPr>
          <a:xfrm>
            <a:off x="6859258" y="4178923"/>
            <a:ext cx="0" cy="132843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5183299B-C358-FFC3-6CDA-1F2AF2FC1F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8192" y="2291601"/>
            <a:ext cx="3398815" cy="18213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42CF31A-01F0-6814-EF97-FE43DB5640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7007" y="3709553"/>
            <a:ext cx="3939881" cy="40389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AA78FAA-21A2-0476-E524-5DBBAABA52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8191" y="4622781"/>
            <a:ext cx="3398813" cy="125219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4FE8E4F-1DFE-AB80-6299-7B612A6D38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7007" y="5507360"/>
            <a:ext cx="3939880" cy="36761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AA1B19F-4B9C-D46C-56A4-3D864D938C9A}"/>
              </a:ext>
            </a:extLst>
          </p:cNvPr>
          <p:cNvSpPr/>
          <p:nvPr/>
        </p:nvSpPr>
        <p:spPr>
          <a:xfrm>
            <a:off x="6731512" y="3794459"/>
            <a:ext cx="1178911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7CBEFAE-CBE1-F77C-0B20-9F1C6E6DFBF9}"/>
              </a:ext>
            </a:extLst>
          </p:cNvPr>
          <p:cNvSpPr/>
          <p:nvPr/>
        </p:nvSpPr>
        <p:spPr>
          <a:xfrm>
            <a:off x="6731512" y="5518619"/>
            <a:ext cx="1101273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308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F05F2A-BB6A-86E0-DF1D-A20400FEC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 keys are in every NCI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E2A2A-7979-4779-A7C8-7BDC303251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Notice how the column </a:t>
            </a:r>
            <a:r>
              <a:rPr lang="nl-BE" dirty="0" err="1"/>
              <a:t>BusinessEntityID</a:t>
            </a:r>
            <a:r>
              <a:rPr lang="nl-BE" dirty="0"/>
              <a:t> </a:t>
            </a:r>
            <a:r>
              <a:rPr lang="nl-BE" dirty="0" err="1"/>
              <a:t>wasn’t</a:t>
            </a:r>
            <a:r>
              <a:rPr lang="nl-BE" dirty="0"/>
              <a:t> </a:t>
            </a:r>
            <a:r>
              <a:rPr lang="nl-BE" dirty="0" err="1"/>
              <a:t>included</a:t>
            </a:r>
            <a:r>
              <a:rPr lang="nl-BE" dirty="0"/>
              <a:t>, </a:t>
            </a:r>
            <a:r>
              <a:rPr lang="nl-BE" dirty="0" err="1"/>
              <a:t>yet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index was </a:t>
            </a:r>
            <a:r>
              <a:rPr lang="nl-BE" dirty="0" err="1"/>
              <a:t>still</a:t>
            </a:r>
            <a:r>
              <a:rPr lang="nl-BE" dirty="0"/>
              <a:t> </a:t>
            </a:r>
            <a:r>
              <a:rPr lang="nl-BE" dirty="0" err="1"/>
              <a:t>covering</a:t>
            </a:r>
            <a:r>
              <a:rPr lang="nl-BE" dirty="0"/>
              <a:t>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3B3E6D-6555-B2D8-07C2-31AAB9100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327432"/>
            <a:ext cx="9188415" cy="173656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6FA9567-13BB-2258-E3C4-0CD6786B5BD6}"/>
              </a:ext>
            </a:extLst>
          </p:cNvPr>
          <p:cNvSpPr/>
          <p:nvPr/>
        </p:nvSpPr>
        <p:spPr>
          <a:xfrm>
            <a:off x="1481666" y="2497666"/>
            <a:ext cx="1574801" cy="30480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487944-9D8E-24B5-5C23-2A98B4DD0C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8780" y="4401972"/>
            <a:ext cx="3276884" cy="197375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BECBCA0-1EDF-0946-0CC1-1884706FC270}"/>
              </a:ext>
            </a:extLst>
          </p:cNvPr>
          <p:cNvSpPr/>
          <p:nvPr/>
        </p:nvSpPr>
        <p:spPr>
          <a:xfrm>
            <a:off x="6049181" y="4934419"/>
            <a:ext cx="389466" cy="466570"/>
          </a:xfrm>
          <a:prstGeom prst="rect">
            <a:avLst/>
          </a:prstGeom>
          <a:noFill/>
          <a:ln w="38100">
            <a:solidFill>
              <a:srgbClr val="033EC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4734D42-79F4-C417-459C-3EE403DBEAE8}"/>
              </a:ext>
            </a:extLst>
          </p:cNvPr>
          <p:cNvCxnSpPr>
            <a:cxnSpLocks/>
          </p:cNvCxnSpPr>
          <p:nvPr/>
        </p:nvCxnSpPr>
        <p:spPr>
          <a:xfrm flipH="1">
            <a:off x="6468279" y="4425724"/>
            <a:ext cx="939809" cy="677334"/>
          </a:xfrm>
          <a:prstGeom prst="straightConnector1">
            <a:avLst/>
          </a:prstGeom>
          <a:ln w="38100">
            <a:solidFill>
              <a:srgbClr val="033EC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1FE4663-E3BF-7560-2BDC-199C1AD0AFC9}"/>
              </a:ext>
            </a:extLst>
          </p:cNvPr>
          <p:cNvSpPr txBox="1"/>
          <p:nvPr/>
        </p:nvSpPr>
        <p:spPr>
          <a:xfrm>
            <a:off x="7533215" y="3816987"/>
            <a:ext cx="2899551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33EC1"/>
                </a:solidFill>
              </a:rPr>
              <a:t>row locator</a:t>
            </a:r>
            <a:br>
              <a:rPr lang="en-US" sz="2400" dirty="0">
                <a:solidFill>
                  <a:srgbClr val="033EC1"/>
                </a:solidFill>
              </a:rPr>
            </a:br>
            <a:r>
              <a:rPr lang="en-US" dirty="0">
                <a:solidFill>
                  <a:srgbClr val="033EC1"/>
                </a:solidFill>
              </a:rPr>
              <a:t>heap: row ID</a:t>
            </a:r>
          </a:p>
          <a:p>
            <a:r>
              <a:rPr lang="en-US" dirty="0">
                <a:solidFill>
                  <a:srgbClr val="033EC1"/>
                </a:solidFill>
              </a:rPr>
              <a:t>CI: index keys</a:t>
            </a:r>
            <a:endParaRPr lang="nl-BE" dirty="0">
              <a:solidFill>
                <a:srgbClr val="033E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9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8FA2E2-A4FB-6367-8BBF-D9DD778E90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What are indexe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4E87D-9821-D86A-F736-0ABD0C5FA5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1</a:t>
            </a:r>
            <a:endParaRPr lang="nl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9B72C-FE1C-899D-FF7F-1664F58A19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lustered Index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BDFB22-4C38-62A5-FC03-609D4AAC09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2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794D7A-7DC9-EF4F-B903-7E28DC6FBF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Nonclustered</a:t>
            </a:r>
            <a:r>
              <a:rPr lang="en-US" dirty="0"/>
              <a:t> Index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24DFB7-9FB6-783B-8FD7-E1F2CE62CB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3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DE0242-4264-F0DC-EFDC-5A2A813275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Other Types of Index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CCE38-7A04-3131-575F-456E8179D1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4</a:t>
            </a:r>
            <a:endParaRPr lang="nl-B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247651E-C031-AAD6-DF56-86D447E3A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Indexes in Other Eng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0683785-89E0-2814-81FB-6EE8D1DBBF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5</a:t>
            </a:r>
            <a:endParaRPr lang="nl-B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579CEC9-7A25-DE3A-4A1A-D79EC32CFF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Maintenanc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E4228AE-BF61-E5D7-2FCA-45D6C96090C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6</a:t>
            </a:r>
            <a:endParaRPr lang="nl-BE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AA6BEA9-C080-96C4-73C9-7D9FF2B0DE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utlin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7654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5934A-9D2E-0864-F298-9D4323586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46C938-9504-CBFC-4BCF-1FC5D8CC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lumn order matters!</a:t>
            </a:r>
            <a:br>
              <a:rPr lang="en-US" dirty="0"/>
            </a:br>
            <a:br>
              <a:rPr lang="en-US" dirty="0"/>
            </a:br>
            <a:endParaRPr lang="en-US" dirty="0"/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	is not the same a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0C6E12-A107-443F-F0DB-85AB229E27D6}"/>
              </a:ext>
            </a:extLst>
          </p:cNvPr>
          <p:cNvSpPr txBox="1"/>
          <p:nvPr/>
        </p:nvSpPr>
        <p:spPr>
          <a:xfrm>
            <a:off x="1726323" y="2055001"/>
            <a:ext cx="77434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NON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NCI_1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)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0DDAFC-9042-89F4-5BDD-6B6307846937}"/>
              </a:ext>
            </a:extLst>
          </p:cNvPr>
          <p:cNvSpPr txBox="1"/>
          <p:nvPr/>
        </p:nvSpPr>
        <p:spPr>
          <a:xfrm>
            <a:off x="1726323" y="3413058"/>
            <a:ext cx="77434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NON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NCI_2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)</a:t>
            </a:r>
            <a:endParaRPr lang="nl-B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A75219-BCFC-2120-E294-D79BCE6BD1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323" y="4701092"/>
            <a:ext cx="7915550" cy="1674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00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CEFD8-C5B0-442A-8563-8095034BF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B4D82-3116-6661-D710-D618A5A375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heck out (but don’t trust) </a:t>
            </a:r>
            <a:r>
              <a:rPr lang="en-US" b="1" dirty="0"/>
              <a:t>missing index suggestions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nl-BE" b="1" dirty="0"/>
          </a:p>
          <a:p>
            <a:pPr marL="0" indent="0">
              <a:buNone/>
            </a:pPr>
            <a:r>
              <a:rPr lang="nl-BE" dirty="0"/>
              <a:t>DMV query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find</a:t>
            </a:r>
            <a:r>
              <a:rPr lang="nl-BE" dirty="0"/>
              <a:t> </a:t>
            </a:r>
            <a:r>
              <a:rPr lang="nl-BE" dirty="0" err="1"/>
              <a:t>all</a:t>
            </a:r>
            <a:r>
              <a:rPr lang="nl-BE" dirty="0"/>
              <a:t> missing </a:t>
            </a:r>
            <a:r>
              <a:rPr lang="nl-BE" dirty="0" err="1"/>
              <a:t>indexes</a:t>
            </a:r>
            <a:r>
              <a:rPr lang="nl-BE" dirty="0"/>
              <a:t> in </a:t>
            </a:r>
            <a:r>
              <a:rPr lang="nl-BE" dirty="0">
                <a:hlinkClick r:id="rId2"/>
              </a:rPr>
              <a:t>MS </a:t>
            </a:r>
            <a:r>
              <a:rPr lang="nl-BE" dirty="0" err="1">
                <a:hlinkClick r:id="rId2"/>
              </a:rPr>
              <a:t>Lear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8A960C-CB72-7DDA-7826-90C8AD2413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6001" y="2060377"/>
            <a:ext cx="7915550" cy="167463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53B1FF1-40D8-BEAE-658E-8714C3340067}"/>
              </a:ext>
            </a:extLst>
          </p:cNvPr>
          <p:cNvSpPr/>
          <p:nvPr/>
        </p:nvSpPr>
        <p:spPr>
          <a:xfrm>
            <a:off x="1230842" y="2207130"/>
            <a:ext cx="8192558" cy="46833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A9E566-B4B0-84C6-06B9-E58608E6CA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3536" y="3735008"/>
            <a:ext cx="4892464" cy="14860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234259B-6A55-9587-AD37-C51F039374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1336" y="4823037"/>
            <a:ext cx="4811178" cy="989860"/>
          </a:xfrm>
          <a:prstGeom prst="rect">
            <a:avLst/>
          </a:prstGeom>
        </p:spPr>
      </p:pic>
      <p:pic>
        <p:nvPicPr>
          <p:cNvPr id="1026" name="Picture 2" descr="Remember the disappointed Pak fan meme guy? He is a manager at a popular  MNC - India Today">
            <a:extLst>
              <a:ext uri="{FF2B5EF4-FFF2-40B4-BE49-F238E27FC236}">
                <a16:creationId xmlns:a16="http://schemas.microsoft.com/office/drawing/2014/main" id="{052F0A7B-C65D-A2F9-7341-5454E6C6BF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1533" y="3311790"/>
            <a:ext cx="2472267" cy="1390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706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90887-2EB3-0C6B-A235-6D24BC3A8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3DB92-3971-6C9C-A4DA-C68355D4D3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err="1"/>
              <a:t>SARGable</a:t>
            </a:r>
            <a:r>
              <a:rPr lang="en-US" dirty="0"/>
              <a:t> queries (Search </a:t>
            </a:r>
            <a:r>
              <a:rPr lang="en-US" dirty="0" err="1"/>
              <a:t>ARGument</a:t>
            </a:r>
            <a:r>
              <a:rPr lang="en-US" dirty="0"/>
              <a:t> ABLE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rite your predicates in such a way that an index can actually be u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sinessEntity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ir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LEFT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'V'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sinessEntity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ir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LIK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00"/>
                </a:solidFill>
                <a:latin typeface="Consolas" panose="020B0609020204030204" pitchFamily="49" charset="0"/>
              </a:rPr>
              <a:t>'V%'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59F074-1BFE-F6A3-7F41-1261EDBB57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3955" y="3106460"/>
            <a:ext cx="5814564" cy="3269263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B1497C55-3926-297E-2393-3C5EFEA4ED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04362" y="5400989"/>
            <a:ext cx="914400" cy="914400"/>
          </a:xfrm>
          <a:prstGeom prst="rect">
            <a:avLst/>
          </a:prstGeom>
        </p:spPr>
      </p:pic>
      <p:pic>
        <p:nvPicPr>
          <p:cNvPr id="9" name="Graphic 8" descr="Close with solid fill">
            <a:extLst>
              <a:ext uri="{FF2B5EF4-FFF2-40B4-BE49-F238E27FC236}">
                <a16:creationId xmlns:a16="http://schemas.microsoft.com/office/drawing/2014/main" id="{55B4C172-A9E1-7341-550A-584D44966A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01487" y="339880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23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4875DE-E99D-0081-A9FC-A571A187E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9B162B92-BDA2-CFF9-7BBC-EFDDB14DB475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B869178-6977-3EDB-200F-C273D1145706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7DE3AFFE-231B-AB65-6209-AD395B0131DB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C9DF7CD3-D9BD-1C23-82BB-218EAAA216CA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7E6D3DD-886A-189F-C60C-E39C6A59A785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4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8D11603-795C-9556-8C92-30B05EB0B2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94EB6A8-5F4D-67D1-77E5-6B7600F8690C}"/>
              </a:ext>
            </a:extLst>
          </p:cNvPr>
          <p:cNvSpPr txBox="1"/>
          <p:nvPr/>
        </p:nvSpPr>
        <p:spPr>
          <a:xfrm>
            <a:off x="332427" y="1571429"/>
            <a:ext cx="515397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Month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ubTotal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Header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2012</a:t>
            </a: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E8F853-56C9-BC6A-456F-452CFF762908}"/>
              </a:ext>
            </a:extLst>
          </p:cNvPr>
          <p:cNvSpPr txBox="1"/>
          <p:nvPr/>
        </p:nvSpPr>
        <p:spPr>
          <a:xfrm>
            <a:off x="332427" y="3897686"/>
            <a:ext cx="515397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Month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ubTotal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Header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2012-01-01'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&lt;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2013-01-01'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B6E011-2EEC-E34F-0DB5-4C751FA373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6672" y="2049169"/>
            <a:ext cx="5503151" cy="39688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30ED49-8CAB-39DD-9300-C292C95973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0046" y="3449987"/>
            <a:ext cx="4659777" cy="82772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06B83E7-810B-FA53-68A9-D17F538405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30045" y="5981805"/>
            <a:ext cx="4659777" cy="74347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ABCA234-8250-06D4-74F3-73CD6B32FE7D}"/>
              </a:ext>
            </a:extLst>
          </p:cNvPr>
          <p:cNvSpPr/>
          <p:nvPr/>
        </p:nvSpPr>
        <p:spPr>
          <a:xfrm>
            <a:off x="9701049" y="3986691"/>
            <a:ext cx="1488774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F30CE2F-780E-CD10-2F42-B64A78FA4ED9}"/>
              </a:ext>
            </a:extLst>
          </p:cNvPr>
          <p:cNvSpPr/>
          <p:nvPr/>
        </p:nvSpPr>
        <p:spPr>
          <a:xfrm>
            <a:off x="9701048" y="6421530"/>
            <a:ext cx="1488774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25" name="Graphic 24" descr="Checkmark with solid fill">
            <a:extLst>
              <a:ext uri="{FF2B5EF4-FFF2-40B4-BE49-F238E27FC236}">
                <a16:creationId xmlns:a16="http://schemas.microsoft.com/office/drawing/2014/main" id="{EAAB62FA-6FB5-8361-207B-CBDBD41DDB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32347" y="4848191"/>
            <a:ext cx="914400" cy="914400"/>
          </a:xfrm>
          <a:prstGeom prst="rect">
            <a:avLst/>
          </a:prstGeom>
        </p:spPr>
      </p:pic>
      <p:pic>
        <p:nvPicPr>
          <p:cNvPr id="26" name="Graphic 25" descr="Close with solid fill">
            <a:extLst>
              <a:ext uri="{FF2B5EF4-FFF2-40B4-BE49-F238E27FC236}">
                <a16:creationId xmlns:a16="http://schemas.microsoft.com/office/drawing/2014/main" id="{0964745E-D099-E433-31DD-1C901BA8C1C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51556" y="260915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730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C4EA29-3521-295D-4147-46AB5595A5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1CDD5-7C56-CA53-2A3F-556F9D9A9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718EA-CCF0-F8D5-2E0C-1F23850B07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err="1"/>
              <a:t>SARGable</a:t>
            </a:r>
            <a:r>
              <a:rPr lang="en-US" dirty="0"/>
              <a:t> queries (Search </a:t>
            </a:r>
            <a:r>
              <a:rPr lang="en-US" dirty="0" err="1"/>
              <a:t>ARGument</a:t>
            </a:r>
            <a:r>
              <a:rPr lang="en-US" dirty="0"/>
              <a:t> ABLE)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dirty="0"/>
              <a:t>also be aware of </a:t>
            </a:r>
            <a:r>
              <a:rPr lang="en-US" b="1" dirty="0"/>
              <a:t>implicit conversions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7CDDEB-720F-4C57-8546-84E2B7AECC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4715" y="2729943"/>
            <a:ext cx="3842570" cy="3810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35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8819478-B8A0-474A-C542-653DE55ABF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9CBCB34-D10E-4F94-9158-8241A02F98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844" y="2109533"/>
            <a:ext cx="7999706" cy="4553552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90E0DD60-A8B2-AEA4-A783-89927ABF1A83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B94DCC7-ED53-3031-E535-8019759A51FF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6820A1E-8B9A-C47A-763D-E52433188EF6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223A8CD-B539-E16A-A2BC-2896B9380F53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A5744A5-424D-1B2E-56E8-DCFF826F2D1C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5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3845E28-8282-A75D-C339-6B6836DEE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7575EC4-3591-C289-8425-CD93D6F6B187}"/>
              </a:ext>
            </a:extLst>
          </p:cNvPr>
          <p:cNvSpPr txBox="1"/>
          <p:nvPr/>
        </p:nvSpPr>
        <p:spPr>
          <a:xfrm>
            <a:off x="1032844" y="194915"/>
            <a:ext cx="1014827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COUNT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#SalesOrderHeader sh</a:t>
            </a:r>
          </a:p>
          <a:p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#SalesOrderDetail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d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d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h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s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]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43659'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E8C9FD-819A-D996-8293-666EC56B33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70287" y="3710562"/>
            <a:ext cx="4036697" cy="59859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BAD22CE-8046-716E-B3FF-3CFE45E4AE9E}"/>
              </a:ext>
            </a:extLst>
          </p:cNvPr>
          <p:cNvSpPr/>
          <p:nvPr/>
        </p:nvSpPr>
        <p:spPr>
          <a:xfrm>
            <a:off x="8862646" y="3710562"/>
            <a:ext cx="2327177" cy="66059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F6E5F21-F751-0E7F-3DF4-39D0BD6244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0287" y="5910189"/>
            <a:ext cx="4102632" cy="660593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6CACB0F6-E46D-B4E9-5149-DA30B1BB478D}"/>
              </a:ext>
            </a:extLst>
          </p:cNvPr>
          <p:cNvSpPr/>
          <p:nvPr/>
        </p:nvSpPr>
        <p:spPr>
          <a:xfrm>
            <a:off x="9032549" y="5884926"/>
            <a:ext cx="2148573" cy="66059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1873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C75CE5-44F4-C764-2A81-D66662B57D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9C7DD-D9D9-A6F4-2AFA-32A4DB743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972A37-4E99-541F-78DF-C454EA10D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dirty="0"/>
              <a:t>Filtered Indexes</a:t>
            </a:r>
          </a:p>
          <a:p>
            <a:pPr lvl="1"/>
            <a:r>
              <a:rPr lang="en-US" sz="2000" dirty="0"/>
              <a:t>consume less disk space &amp; less maintenance</a:t>
            </a:r>
          </a:p>
          <a:p>
            <a:pPr lvl="1"/>
            <a:r>
              <a:rPr lang="en-US" sz="2000" dirty="0"/>
              <a:t>queries frequently access only a portion of the data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columns with sparse data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uniqueness on a subset of the data</a:t>
            </a:r>
          </a:p>
          <a:p>
            <a:pPr lvl="1"/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AEE2B1-67DA-D9AC-6672-457C8D22D127}"/>
              </a:ext>
            </a:extLst>
          </p:cNvPr>
          <p:cNvSpPr txBox="1"/>
          <p:nvPr/>
        </p:nvSpPr>
        <p:spPr>
          <a:xfrm>
            <a:off x="2007159" y="2737325"/>
            <a:ext cx="62048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Orders_Status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.Order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nl-BE" sz="1800" dirty="0">
                <a:latin typeface="Consolas" panose="020B0609020204030204" pitchFamily="49" charset="0"/>
              </a:rPr>
              <a:t>Status]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00"/>
                </a:solidFill>
                <a:latin typeface="Consolas" panose="020B0609020204030204" pitchFamily="49" charset="0"/>
              </a:rPr>
              <a:t>'</a:t>
            </a:r>
            <a:r>
              <a:rPr lang="nl-BE" sz="1800" dirty="0" err="1">
                <a:solidFill>
                  <a:srgbClr val="FF0000"/>
                </a:solidFill>
                <a:latin typeface="Consolas" panose="020B0609020204030204" pitchFamily="49" charset="0"/>
              </a:rPr>
              <a:t>Pending</a:t>
            </a:r>
            <a:r>
              <a:rPr lang="nl-BE" sz="1800" dirty="0">
                <a:solidFill>
                  <a:srgbClr val="FF0000"/>
                </a:solidFill>
                <a:latin typeface="Consolas" panose="020B0609020204030204" pitchFamily="49" charset="0"/>
              </a:rPr>
              <a:t>'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E8F731-7E18-5ACD-80DE-95D0744A84ED}"/>
              </a:ext>
            </a:extLst>
          </p:cNvPr>
          <p:cNvSpPr txBox="1"/>
          <p:nvPr/>
        </p:nvSpPr>
        <p:spPr>
          <a:xfrm>
            <a:off x="2007159" y="4235945"/>
            <a:ext cx="62048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ProductColor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duct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lo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Colo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I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;</a:t>
            </a:r>
            <a:endParaRPr lang="nl-B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A8AF95-F2EE-5FDA-2A6A-9CF23F12CD1C}"/>
              </a:ext>
            </a:extLst>
          </p:cNvPr>
          <p:cNvSpPr txBox="1"/>
          <p:nvPr/>
        </p:nvSpPr>
        <p:spPr>
          <a:xfrm>
            <a:off x="2007159" y="5713908"/>
            <a:ext cx="62048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X_User_Activ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sActiv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4893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/>
      <p:bldP spid="1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C7DDF7-F1BE-54C7-4774-0526F38731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6790D1-7631-C63D-C1E7-1BCCE00B15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Other Indexes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69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926352F-DD87-268D-7C46-5DE4D9F8B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store index</a:t>
            </a:r>
            <a:endParaRPr lang="nl-BE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83B5437-70E3-E6DA-C591-5D15682D815D}"/>
              </a:ext>
            </a:extLst>
          </p:cNvPr>
          <p:cNvGrpSpPr/>
          <p:nvPr/>
        </p:nvGrpSpPr>
        <p:grpSpPr>
          <a:xfrm>
            <a:off x="2113829" y="3221610"/>
            <a:ext cx="2160240" cy="2016224"/>
            <a:chOff x="539552" y="3429000"/>
            <a:chExt cx="2160240" cy="2016224"/>
          </a:xfrm>
        </p:grpSpPr>
        <p:sp>
          <p:nvSpPr>
            <p:cNvPr id="7" name="Rounded Rectangle 4">
              <a:extLst>
                <a:ext uri="{FF2B5EF4-FFF2-40B4-BE49-F238E27FC236}">
                  <a16:creationId xmlns:a16="http://schemas.microsoft.com/office/drawing/2014/main" id="{2E6DA780-CB74-F584-70A3-EB951A77A9A2}"/>
                </a:ext>
              </a:extLst>
            </p:cNvPr>
            <p:cNvSpPr/>
            <p:nvPr/>
          </p:nvSpPr>
          <p:spPr>
            <a:xfrm>
              <a:off x="539552" y="3429000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EAE200B-4CB6-D095-18D4-FD05B0569515}"/>
                </a:ext>
              </a:extLst>
            </p:cNvPr>
            <p:cNvGrpSpPr/>
            <p:nvPr/>
          </p:nvGrpSpPr>
          <p:grpSpPr>
            <a:xfrm>
              <a:off x="899592" y="4087958"/>
              <a:ext cx="1440160" cy="369332"/>
              <a:chOff x="3995936" y="2708920"/>
              <a:chExt cx="1440160" cy="369332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3411014-061A-8655-FD3F-A077615BB0B1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30190E9F-91C6-D1F5-ABD2-0E0251179B61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59A908-55F1-998C-DFD9-6B11A830E057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5212752-1560-1B5F-DDA7-ECD6A9C238F8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0C93DBD-235D-AA12-D3B9-4999143FCD61}"/>
                </a:ext>
              </a:extLst>
            </p:cNvPr>
            <p:cNvGrpSpPr/>
            <p:nvPr/>
          </p:nvGrpSpPr>
          <p:grpSpPr>
            <a:xfrm>
              <a:off x="899592" y="4528292"/>
              <a:ext cx="1440160" cy="369332"/>
              <a:chOff x="3995936" y="2708920"/>
              <a:chExt cx="1440160" cy="369332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01933B4-B2D4-A75D-6BAE-B7374F16A272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EB528D56-8A67-0EB3-2A5E-4E9820E89328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D8DEFDD-A045-E1AB-7DC7-2F03F6BCCC29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A704A6D-9ABC-CF4D-0EC1-542C4C4BB6BA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76BDB92-408B-F277-4AD1-D5018ECC3535}"/>
                </a:ext>
              </a:extLst>
            </p:cNvPr>
            <p:cNvGrpSpPr/>
            <p:nvPr/>
          </p:nvGrpSpPr>
          <p:grpSpPr>
            <a:xfrm>
              <a:off x="899592" y="3645024"/>
              <a:ext cx="1440160" cy="369332"/>
              <a:chOff x="899592" y="3284984"/>
              <a:chExt cx="1440160" cy="369332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D7A3957-D5E6-63E0-3FBA-2B5D2D5CE277}"/>
                  </a:ext>
                </a:extLst>
              </p:cNvPr>
              <p:cNvSpPr txBox="1"/>
              <p:nvPr/>
            </p:nvSpPr>
            <p:spPr>
              <a:xfrm>
                <a:off x="899592" y="3284984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B7069D4-3A92-EF0A-2947-27DB39C00D8A}"/>
                  </a:ext>
                </a:extLst>
              </p:cNvPr>
              <p:cNvSpPr txBox="1"/>
              <p:nvPr/>
            </p:nvSpPr>
            <p:spPr>
              <a:xfrm>
                <a:off x="1259632" y="3284984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E56150-915B-4B0F-20FB-9D4AF96475AF}"/>
                  </a:ext>
                </a:extLst>
              </p:cNvPr>
              <p:cNvSpPr txBox="1"/>
              <p:nvPr/>
            </p:nvSpPr>
            <p:spPr>
              <a:xfrm>
                <a:off x="1619672" y="3284984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D0D12CF-3AFA-6ADB-597D-C649F4D44F13}"/>
                  </a:ext>
                </a:extLst>
              </p:cNvPr>
              <p:cNvSpPr txBox="1"/>
              <p:nvPr/>
            </p:nvSpPr>
            <p:spPr>
              <a:xfrm>
                <a:off x="1979712" y="3284984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EC3201A-F3D0-EBE2-3EA8-12409D8EE600}"/>
              </a:ext>
            </a:extLst>
          </p:cNvPr>
          <p:cNvGrpSpPr/>
          <p:nvPr/>
        </p:nvGrpSpPr>
        <p:grpSpPr>
          <a:xfrm>
            <a:off x="4274069" y="5957914"/>
            <a:ext cx="3672408" cy="504056"/>
            <a:chOff x="2699792" y="4941168"/>
            <a:chExt cx="3672408" cy="504056"/>
          </a:xfrm>
        </p:grpSpPr>
        <p:sp>
          <p:nvSpPr>
            <p:cNvPr id="24" name="Can 3">
              <a:extLst>
                <a:ext uri="{FF2B5EF4-FFF2-40B4-BE49-F238E27FC236}">
                  <a16:creationId xmlns:a16="http://schemas.microsoft.com/office/drawing/2014/main" id="{1219D392-4FC6-6139-00E3-3087671F98E7}"/>
                </a:ext>
              </a:extLst>
            </p:cNvPr>
            <p:cNvSpPr/>
            <p:nvPr/>
          </p:nvSpPr>
          <p:spPr>
            <a:xfrm>
              <a:off x="2699792" y="4941168"/>
              <a:ext cx="3672408" cy="504056"/>
            </a:xfrm>
            <a:prstGeom prst="can">
              <a:avLst/>
            </a:prstGeom>
            <a:solidFill>
              <a:srgbClr val="FCB219"/>
            </a:solidFill>
            <a:ln w="25400" cap="flat" cmpd="sng" algn="ctr">
              <a:solidFill>
                <a:srgbClr val="FCB21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2400" b="1" i="0" u="none" strike="noStrike" kern="0" cap="none" spc="0" normalizeH="0" baseline="0" noProof="0">
                <a:ln w="31550" cmpd="sng">
                  <a:gradFill>
                    <a:gsLst>
                      <a:gs pos="70000">
                        <a:srgbClr val="A8AAAD">
                          <a:shade val="50000"/>
                          <a:satMod val="190000"/>
                        </a:srgbClr>
                      </a:gs>
                      <a:gs pos="0">
                        <a:srgbClr val="A8AAAD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A8AAAD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45B4745-7795-7691-4A89-CC22057430F0}"/>
                </a:ext>
              </a:extLst>
            </p:cNvPr>
            <p:cNvSpPr txBox="1"/>
            <p:nvPr/>
          </p:nvSpPr>
          <p:spPr>
            <a:xfrm>
              <a:off x="4233732" y="5034948"/>
              <a:ext cx="720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disk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9884D85-DDE1-2E22-FEC6-3D2D0112BE8E}"/>
              </a:ext>
            </a:extLst>
          </p:cNvPr>
          <p:cNvGrpSpPr/>
          <p:nvPr/>
        </p:nvGrpSpPr>
        <p:grpSpPr>
          <a:xfrm>
            <a:off x="5030153" y="3221610"/>
            <a:ext cx="2160240" cy="2016224"/>
            <a:chOff x="539552" y="2492896"/>
            <a:chExt cx="2160240" cy="2016224"/>
          </a:xfrm>
        </p:grpSpPr>
        <p:sp>
          <p:nvSpPr>
            <p:cNvPr id="27" name="Rounded Rectangle 28">
              <a:extLst>
                <a:ext uri="{FF2B5EF4-FFF2-40B4-BE49-F238E27FC236}">
                  <a16:creationId xmlns:a16="http://schemas.microsoft.com/office/drawing/2014/main" id="{7048C836-7E49-D0A2-CC34-2CE5C40AAB12}"/>
                </a:ext>
              </a:extLst>
            </p:cNvPr>
            <p:cNvSpPr/>
            <p:nvPr/>
          </p:nvSpPr>
          <p:spPr>
            <a:xfrm>
              <a:off x="539552" y="2492896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28" name="Group 12">
              <a:extLst>
                <a:ext uri="{FF2B5EF4-FFF2-40B4-BE49-F238E27FC236}">
                  <a16:creationId xmlns:a16="http://schemas.microsoft.com/office/drawing/2014/main" id="{143AAE14-8854-BDC0-C3CB-D3AEB6E43450}"/>
                </a:ext>
              </a:extLst>
            </p:cNvPr>
            <p:cNvGrpSpPr/>
            <p:nvPr/>
          </p:nvGrpSpPr>
          <p:grpSpPr>
            <a:xfrm>
              <a:off x="899592" y="2708920"/>
              <a:ext cx="1440160" cy="369332"/>
              <a:chOff x="3995936" y="2708920"/>
              <a:chExt cx="1440160" cy="369332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4087B4BB-EE6B-70DB-8ED0-43524B7150D0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0645DA21-749C-C693-AD38-215F826C6F4B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B952BC37-DF72-5039-44C8-80973397B8F2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1A384289-F09C-CC38-1F43-7EFA81B5C094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29" name="Group 15">
              <a:extLst>
                <a:ext uri="{FF2B5EF4-FFF2-40B4-BE49-F238E27FC236}">
                  <a16:creationId xmlns:a16="http://schemas.microsoft.com/office/drawing/2014/main" id="{DA2C688D-A66F-87E1-B09F-26677118F001}"/>
                </a:ext>
              </a:extLst>
            </p:cNvPr>
            <p:cNvGrpSpPr/>
            <p:nvPr/>
          </p:nvGrpSpPr>
          <p:grpSpPr>
            <a:xfrm>
              <a:off x="899592" y="3151854"/>
              <a:ext cx="1440160" cy="369332"/>
              <a:chOff x="3995936" y="2708920"/>
              <a:chExt cx="1440160" cy="369332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EFD553B-E758-C674-4358-92C4A611DF1B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93E29DE3-01EC-DDAD-A63B-3F5C67F0BF43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FFFCC636-C5B5-3CD3-7581-DBF373C08F04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2945FCC-7B9D-E6F2-F040-83E1A3A7872E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30" name="Group 20">
              <a:extLst>
                <a:ext uri="{FF2B5EF4-FFF2-40B4-BE49-F238E27FC236}">
                  <a16:creationId xmlns:a16="http://schemas.microsoft.com/office/drawing/2014/main" id="{2B5717BF-5081-1126-B505-A9C16483257E}"/>
                </a:ext>
              </a:extLst>
            </p:cNvPr>
            <p:cNvGrpSpPr/>
            <p:nvPr/>
          </p:nvGrpSpPr>
          <p:grpSpPr>
            <a:xfrm>
              <a:off x="899592" y="3592188"/>
              <a:ext cx="1440160" cy="369332"/>
              <a:chOff x="3995936" y="2708920"/>
              <a:chExt cx="1440160" cy="369332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44B8CB67-69DD-347C-60C4-CE2ACA214D32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E46E6DD4-BB44-3D75-50D8-4D233D4A7AA3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57828F0-C740-9211-460F-05E75D2058C3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64A690C7-BCDD-506F-5F82-4415CCD4C416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84D3FAB-5E51-6E46-3CA4-E854373CCD50}"/>
                </a:ext>
              </a:extLst>
            </p:cNvPr>
            <p:cNvSpPr txBox="1"/>
            <p:nvPr/>
          </p:nvSpPr>
          <p:spPr>
            <a:xfrm>
              <a:off x="1187624" y="4109010"/>
              <a:ext cx="79208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pag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DFF27DD-D240-C9E4-B8D4-4414BAA48D19}"/>
              </a:ext>
            </a:extLst>
          </p:cNvPr>
          <p:cNvGrpSpPr/>
          <p:nvPr/>
        </p:nvGrpSpPr>
        <p:grpSpPr>
          <a:xfrm>
            <a:off x="7946477" y="3221610"/>
            <a:ext cx="2160240" cy="2016224"/>
            <a:chOff x="539552" y="2492896"/>
            <a:chExt cx="2160240" cy="2016224"/>
          </a:xfrm>
        </p:grpSpPr>
        <p:sp>
          <p:nvSpPr>
            <p:cNvPr id="45" name="Rounded Rectangle 46">
              <a:extLst>
                <a:ext uri="{FF2B5EF4-FFF2-40B4-BE49-F238E27FC236}">
                  <a16:creationId xmlns:a16="http://schemas.microsoft.com/office/drawing/2014/main" id="{C8680BF5-1867-C08B-9F39-C12B396AB0D0}"/>
                </a:ext>
              </a:extLst>
            </p:cNvPr>
            <p:cNvSpPr/>
            <p:nvPr/>
          </p:nvSpPr>
          <p:spPr>
            <a:xfrm>
              <a:off x="539552" y="2492896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46" name="Group 12">
              <a:extLst>
                <a:ext uri="{FF2B5EF4-FFF2-40B4-BE49-F238E27FC236}">
                  <a16:creationId xmlns:a16="http://schemas.microsoft.com/office/drawing/2014/main" id="{832FD272-7321-0390-01B7-EBE6B29E5ECE}"/>
                </a:ext>
              </a:extLst>
            </p:cNvPr>
            <p:cNvGrpSpPr/>
            <p:nvPr/>
          </p:nvGrpSpPr>
          <p:grpSpPr>
            <a:xfrm>
              <a:off x="899592" y="2708920"/>
              <a:ext cx="1440160" cy="369332"/>
              <a:chOff x="3995936" y="2708920"/>
              <a:chExt cx="1440160" cy="369332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3E871AC4-E311-76CD-7EF4-69A039C4918A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B7E350F4-EF69-B879-313B-FB58444AB8A6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90324375-354C-332B-285F-D7A1D94A0FA9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60A13E3D-F93A-9342-5608-EB10B31CA668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47" name="Group 15">
              <a:extLst>
                <a:ext uri="{FF2B5EF4-FFF2-40B4-BE49-F238E27FC236}">
                  <a16:creationId xmlns:a16="http://schemas.microsoft.com/office/drawing/2014/main" id="{B93540CE-C5E5-8D29-2121-EB51D30F3E7A}"/>
                </a:ext>
              </a:extLst>
            </p:cNvPr>
            <p:cNvGrpSpPr/>
            <p:nvPr/>
          </p:nvGrpSpPr>
          <p:grpSpPr>
            <a:xfrm>
              <a:off x="899592" y="3151854"/>
              <a:ext cx="1440160" cy="369332"/>
              <a:chOff x="3995936" y="2708920"/>
              <a:chExt cx="1440160" cy="369332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B8C846F-1EDE-040E-ADB8-7EB6E53DA646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4ABFD6CF-42DE-8166-3228-90D79CD29DA4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8A13BF73-6917-DCF6-0C9D-EDD9823127BB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B14F011E-35AF-EB03-2AF2-7208BA8C7E19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48" name="Group 20">
              <a:extLst>
                <a:ext uri="{FF2B5EF4-FFF2-40B4-BE49-F238E27FC236}">
                  <a16:creationId xmlns:a16="http://schemas.microsoft.com/office/drawing/2014/main" id="{BF590464-AAE3-A138-AC1A-70CC6DC8CE22}"/>
                </a:ext>
              </a:extLst>
            </p:cNvPr>
            <p:cNvGrpSpPr/>
            <p:nvPr/>
          </p:nvGrpSpPr>
          <p:grpSpPr>
            <a:xfrm>
              <a:off x="899592" y="3592188"/>
              <a:ext cx="1440160" cy="369332"/>
              <a:chOff x="3995936" y="2708920"/>
              <a:chExt cx="1440160" cy="369332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FBCBF6BA-07C9-5FF9-ECC0-75E9AD7DCB9E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C49D064-476B-C2C2-41F8-D32E6D86A77B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7AE9634A-2E1E-C3DB-5A67-C2C358C8B035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6ECA00BF-3C9D-7142-EF8A-5B661C1B8A37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F24A85B-55B9-B021-AE6F-35B958377A08}"/>
                </a:ext>
              </a:extLst>
            </p:cNvPr>
            <p:cNvSpPr txBox="1"/>
            <p:nvPr/>
          </p:nvSpPr>
          <p:spPr>
            <a:xfrm>
              <a:off x="1187624" y="4109010"/>
              <a:ext cx="79208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page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AC14A6D-A845-8551-9AB0-E9A300A1BD70}"/>
              </a:ext>
            </a:extLst>
          </p:cNvPr>
          <p:cNvGrpSpPr/>
          <p:nvPr/>
        </p:nvGrpSpPr>
        <p:grpSpPr>
          <a:xfrm>
            <a:off x="5354189" y="3415862"/>
            <a:ext cx="1512168" cy="1274372"/>
            <a:chOff x="856048" y="3274098"/>
            <a:chExt cx="1512168" cy="1274372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99908045-D25F-F8B4-B7FD-83109E211A36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0548E806-70AE-AD9E-1F38-B483C9C2D31F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94B5757-455D-843B-1B72-7CBFD8612668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C3BDF45-DBCD-3951-9414-68C3B35BD8B3}"/>
              </a:ext>
            </a:extLst>
          </p:cNvPr>
          <p:cNvGrpSpPr/>
          <p:nvPr/>
        </p:nvGrpSpPr>
        <p:grpSpPr>
          <a:xfrm>
            <a:off x="8234509" y="3409170"/>
            <a:ext cx="1512168" cy="1274372"/>
            <a:chOff x="856048" y="3274098"/>
            <a:chExt cx="1512168" cy="1274372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180DF9A-EDE1-26DE-0DF7-89F085574FBB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B71A0D9-DEBB-2B2D-B895-36B59084FF91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5D2C4849-9DBC-E266-F89B-F141E3EF24B4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70" name="Right Arrow 77">
            <a:extLst>
              <a:ext uri="{FF2B5EF4-FFF2-40B4-BE49-F238E27FC236}">
                <a16:creationId xmlns:a16="http://schemas.microsoft.com/office/drawing/2014/main" id="{41D30F85-AEFE-AFE4-2777-D0994C33299A}"/>
              </a:ext>
            </a:extLst>
          </p:cNvPr>
          <p:cNvSpPr/>
          <p:nvPr/>
        </p:nvSpPr>
        <p:spPr>
          <a:xfrm rot="14764633">
            <a:off x="3915414" y="5372191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1" name="Right Arrow 78">
            <a:extLst>
              <a:ext uri="{FF2B5EF4-FFF2-40B4-BE49-F238E27FC236}">
                <a16:creationId xmlns:a16="http://schemas.microsoft.com/office/drawing/2014/main" id="{CB5083E8-D7E1-6B7C-9A76-DDC87B2578AC}"/>
              </a:ext>
            </a:extLst>
          </p:cNvPr>
          <p:cNvSpPr/>
          <p:nvPr/>
        </p:nvSpPr>
        <p:spPr>
          <a:xfrm rot="16200000">
            <a:off x="5865566" y="5372190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2" name="Right Arrow 79">
            <a:extLst>
              <a:ext uri="{FF2B5EF4-FFF2-40B4-BE49-F238E27FC236}">
                <a16:creationId xmlns:a16="http://schemas.microsoft.com/office/drawing/2014/main" id="{C332E409-C727-A091-BC62-2F46EF259D1D}"/>
              </a:ext>
            </a:extLst>
          </p:cNvPr>
          <p:cNvSpPr/>
          <p:nvPr/>
        </p:nvSpPr>
        <p:spPr>
          <a:xfrm rot="17640000">
            <a:off x="7887587" y="5372191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BA0095C-7573-7CA8-2DB9-A7424B319AF2}"/>
              </a:ext>
            </a:extLst>
          </p:cNvPr>
          <p:cNvSpPr txBox="1"/>
          <p:nvPr/>
        </p:nvSpPr>
        <p:spPr>
          <a:xfrm>
            <a:off x="5912675" y="236840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125CA36-B9FA-3C60-C813-74FEE2530269}"/>
              </a:ext>
            </a:extLst>
          </p:cNvPr>
          <p:cNvSpPr txBox="1"/>
          <p:nvPr/>
        </p:nvSpPr>
        <p:spPr>
          <a:xfrm>
            <a:off x="2761901" y="4837724"/>
            <a:ext cx="792088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nl-BE" sz="2000" b="1">
                <a:solidFill>
                  <a:prstClr val="white"/>
                </a:solidFill>
                <a:latin typeface="Segoe UI Light"/>
              </a:rPr>
              <a:t>page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9348C03-8202-B1E5-68A5-54EA21F7E29A}"/>
              </a:ext>
            </a:extLst>
          </p:cNvPr>
          <p:cNvGrpSpPr/>
          <p:nvPr/>
        </p:nvGrpSpPr>
        <p:grpSpPr>
          <a:xfrm>
            <a:off x="2430325" y="3426748"/>
            <a:ext cx="1512168" cy="1274372"/>
            <a:chOff x="856048" y="3274098"/>
            <a:chExt cx="1512168" cy="1274372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F0FD7E34-F5C5-FE4B-0499-C40B6BA742AA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73F7973-4DD3-A49D-B4E7-8B17629381B1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D9EFABB-E753-7507-EC63-243AAA6E968F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9EA0589D-E8F5-4177-3434-65CD8023CED1}"/>
              </a:ext>
            </a:extLst>
          </p:cNvPr>
          <p:cNvSpPr txBox="1"/>
          <p:nvPr/>
        </p:nvSpPr>
        <p:spPr>
          <a:xfrm>
            <a:off x="5912675" y="20083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4D108BA-E01B-C9B2-C0A0-2B0BBE0FB257}"/>
              </a:ext>
            </a:extLst>
          </p:cNvPr>
          <p:cNvSpPr txBox="1"/>
          <p:nvPr/>
        </p:nvSpPr>
        <p:spPr>
          <a:xfrm>
            <a:off x="4490093" y="2717554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B911003-4755-3EFE-0557-49B43012A65B}"/>
              </a:ext>
            </a:extLst>
          </p:cNvPr>
          <p:cNvSpPr txBox="1"/>
          <p:nvPr/>
        </p:nvSpPr>
        <p:spPr>
          <a:xfrm>
            <a:off x="4490093" y="2357514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E5331C6-F9BC-C2AD-539B-4D19D1EF2764}"/>
              </a:ext>
            </a:extLst>
          </p:cNvPr>
          <p:cNvSpPr txBox="1"/>
          <p:nvPr/>
        </p:nvSpPr>
        <p:spPr>
          <a:xfrm>
            <a:off x="4490093" y="1997474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1DB5B5D-8904-516F-D8AA-55D2761B1749}"/>
              </a:ext>
            </a:extLst>
          </p:cNvPr>
          <p:cNvSpPr txBox="1"/>
          <p:nvPr/>
        </p:nvSpPr>
        <p:spPr>
          <a:xfrm>
            <a:off x="5912675" y="2737732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5658BFB7-65AB-A95F-2D8F-AB42E741EEC8}"/>
              </a:ext>
            </a:extLst>
          </p:cNvPr>
          <p:cNvCxnSpPr>
            <a:stCxn id="11" idx="0"/>
            <a:endCxn id="82" idx="1"/>
          </p:cNvCxnSpPr>
          <p:nvPr/>
        </p:nvCxnSpPr>
        <p:spPr>
          <a:xfrm flipV="1">
            <a:off x="2653889" y="2182140"/>
            <a:ext cx="1836204" cy="125549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A77FEDE3-0384-0517-C7A0-65929D00EFBF}"/>
              </a:ext>
            </a:extLst>
          </p:cNvPr>
          <p:cNvCxnSpPr>
            <a:stCxn id="19" idx="0"/>
            <a:endCxn id="81" idx="1"/>
          </p:cNvCxnSpPr>
          <p:nvPr/>
        </p:nvCxnSpPr>
        <p:spPr>
          <a:xfrm flipV="1">
            <a:off x="2653889" y="2542180"/>
            <a:ext cx="1836204" cy="133838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6D490417-0D5A-DB0F-D12E-06AAB712E288}"/>
              </a:ext>
            </a:extLst>
          </p:cNvPr>
          <p:cNvCxnSpPr>
            <a:stCxn id="15" idx="0"/>
            <a:endCxn id="80" idx="1"/>
          </p:cNvCxnSpPr>
          <p:nvPr/>
        </p:nvCxnSpPr>
        <p:spPr>
          <a:xfrm flipV="1">
            <a:off x="2653889" y="2902220"/>
            <a:ext cx="1836204" cy="141868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5E3A9C2E-5A3F-D22B-3824-82DBBD3694C4}"/>
              </a:ext>
            </a:extLst>
          </p:cNvPr>
          <p:cNvSpPr txBox="1"/>
          <p:nvPr/>
        </p:nvSpPr>
        <p:spPr>
          <a:xfrm>
            <a:off x="7370413" y="236840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445FCF4-9C34-05E9-6217-A6ABC0A07E16}"/>
              </a:ext>
            </a:extLst>
          </p:cNvPr>
          <p:cNvSpPr txBox="1"/>
          <p:nvPr/>
        </p:nvSpPr>
        <p:spPr>
          <a:xfrm>
            <a:off x="7370413" y="20083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901F301-3416-9D21-6FA2-5670045D650A}"/>
              </a:ext>
            </a:extLst>
          </p:cNvPr>
          <p:cNvSpPr txBox="1"/>
          <p:nvPr/>
        </p:nvSpPr>
        <p:spPr>
          <a:xfrm>
            <a:off x="7370413" y="2737732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7BE48AE3-428E-95CD-724D-5762FE00F486}"/>
              </a:ext>
            </a:extLst>
          </p:cNvPr>
          <p:cNvCxnSpPr>
            <a:stCxn id="40" idx="0"/>
            <a:endCxn id="79" idx="1"/>
          </p:cNvCxnSpPr>
          <p:nvPr/>
        </p:nvCxnSpPr>
        <p:spPr>
          <a:xfrm flipV="1">
            <a:off x="5570213" y="2193026"/>
            <a:ext cx="342462" cy="12446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1F1AF127-3B7E-8B7F-53B6-81B63BC35663}"/>
              </a:ext>
            </a:extLst>
          </p:cNvPr>
          <p:cNvCxnSpPr>
            <a:stCxn id="36" idx="0"/>
            <a:endCxn id="73" idx="1"/>
          </p:cNvCxnSpPr>
          <p:nvPr/>
        </p:nvCxnSpPr>
        <p:spPr>
          <a:xfrm flipV="1">
            <a:off x="5570213" y="2553066"/>
            <a:ext cx="342462" cy="13275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2CA8D9D9-CA7D-F5A1-792C-343038866781}"/>
              </a:ext>
            </a:extLst>
          </p:cNvPr>
          <p:cNvCxnSpPr>
            <a:stCxn id="32" idx="0"/>
            <a:endCxn id="83" idx="1"/>
          </p:cNvCxnSpPr>
          <p:nvPr/>
        </p:nvCxnSpPr>
        <p:spPr>
          <a:xfrm flipV="1">
            <a:off x="5570213" y="2922398"/>
            <a:ext cx="342462" cy="139850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726FA11D-E4C2-D1BD-B1F8-7FDD759858E8}"/>
              </a:ext>
            </a:extLst>
          </p:cNvPr>
          <p:cNvCxnSpPr>
            <a:stCxn id="58" idx="0"/>
            <a:endCxn id="88" idx="3"/>
          </p:cNvCxnSpPr>
          <p:nvPr/>
        </p:nvCxnSpPr>
        <p:spPr>
          <a:xfrm flipH="1" flipV="1">
            <a:off x="7730453" y="2193026"/>
            <a:ext cx="756084" cy="12446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D344C582-3F75-332E-1291-FE9912EE35CA}"/>
              </a:ext>
            </a:extLst>
          </p:cNvPr>
          <p:cNvCxnSpPr>
            <a:stCxn id="54" idx="0"/>
            <a:endCxn id="87" idx="3"/>
          </p:cNvCxnSpPr>
          <p:nvPr/>
        </p:nvCxnSpPr>
        <p:spPr>
          <a:xfrm flipH="1" flipV="1">
            <a:off x="7730453" y="2553066"/>
            <a:ext cx="756084" cy="13275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9DE1D705-A793-CEBD-38B8-E0B9CF6F2024}"/>
              </a:ext>
            </a:extLst>
          </p:cNvPr>
          <p:cNvCxnSpPr>
            <a:stCxn id="50" idx="0"/>
            <a:endCxn id="89" idx="3"/>
          </p:cNvCxnSpPr>
          <p:nvPr/>
        </p:nvCxnSpPr>
        <p:spPr>
          <a:xfrm flipH="1" flipV="1">
            <a:off x="7730453" y="2922398"/>
            <a:ext cx="756084" cy="139850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F8F21892-F3A4-AC9D-5EB1-7FF33EDA6AE7}"/>
              </a:ext>
            </a:extLst>
          </p:cNvPr>
          <p:cNvSpPr txBox="1"/>
          <p:nvPr/>
        </p:nvSpPr>
        <p:spPr>
          <a:xfrm>
            <a:off x="839370" y="1340257"/>
            <a:ext cx="19225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A</a:t>
            </a: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6475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1" grpId="0" animBg="1"/>
      <p:bldP spid="72" grpId="0" animBg="1"/>
      <p:bldP spid="73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7" grpId="0" animBg="1"/>
      <p:bldP spid="88" grpId="0" animBg="1"/>
      <p:bldP spid="89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71E19A-B493-7FAE-422E-E5B0A7F9A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less I/O</a:t>
            </a:r>
            <a:endParaRPr lang="nl-B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5FC287-5F6F-462D-4337-6DBD75DA09AE}"/>
              </a:ext>
            </a:extLst>
          </p:cNvPr>
          <p:cNvGrpSpPr/>
          <p:nvPr/>
        </p:nvGrpSpPr>
        <p:grpSpPr>
          <a:xfrm>
            <a:off x="4170373" y="5805488"/>
            <a:ext cx="3672408" cy="504056"/>
            <a:chOff x="2699792" y="4941168"/>
            <a:chExt cx="3672408" cy="504056"/>
          </a:xfrm>
        </p:grpSpPr>
        <p:sp>
          <p:nvSpPr>
            <p:cNvPr id="5" name="Can 4">
              <a:extLst>
                <a:ext uri="{FF2B5EF4-FFF2-40B4-BE49-F238E27FC236}">
                  <a16:creationId xmlns:a16="http://schemas.microsoft.com/office/drawing/2014/main" id="{DDF4D261-BB89-3025-5EC8-A1E9DFFD782F}"/>
                </a:ext>
              </a:extLst>
            </p:cNvPr>
            <p:cNvSpPr/>
            <p:nvPr/>
          </p:nvSpPr>
          <p:spPr>
            <a:xfrm>
              <a:off x="2699792" y="4941168"/>
              <a:ext cx="3672408" cy="504056"/>
            </a:xfrm>
            <a:prstGeom prst="can">
              <a:avLst/>
            </a:prstGeom>
            <a:solidFill>
              <a:srgbClr val="FCB219"/>
            </a:solidFill>
            <a:ln w="25400" cap="flat" cmpd="sng" algn="ctr">
              <a:solidFill>
                <a:srgbClr val="FCB21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2400" b="1" i="0" u="none" strike="noStrike" kern="0" cap="none" spc="0" normalizeH="0" baseline="0" noProof="0">
                <a:ln w="31550" cmpd="sng">
                  <a:gradFill>
                    <a:gsLst>
                      <a:gs pos="70000">
                        <a:srgbClr val="A8AAAD">
                          <a:shade val="50000"/>
                          <a:satMod val="190000"/>
                        </a:srgbClr>
                      </a:gs>
                      <a:gs pos="0">
                        <a:srgbClr val="A8AAAD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A8AAAD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B578EC-9FDA-DE57-583F-352F9DE979A9}"/>
                </a:ext>
              </a:extLst>
            </p:cNvPr>
            <p:cNvSpPr txBox="1"/>
            <p:nvPr/>
          </p:nvSpPr>
          <p:spPr>
            <a:xfrm>
              <a:off x="4233732" y="5034948"/>
              <a:ext cx="720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disk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5168F32-3359-C802-5C7F-1C3B98C6A2F0}"/>
              </a:ext>
            </a:extLst>
          </p:cNvPr>
          <p:cNvGrpSpPr/>
          <p:nvPr/>
        </p:nvGrpSpPr>
        <p:grpSpPr>
          <a:xfrm>
            <a:off x="3306277" y="2133080"/>
            <a:ext cx="360040" cy="3249652"/>
            <a:chOff x="1547664" y="2420888"/>
            <a:chExt cx="360040" cy="324965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B4AD74A-4938-6034-DEB6-14AC3F18ADB6}"/>
                </a:ext>
              </a:extLst>
            </p:cNvPr>
            <p:cNvSpPr txBox="1"/>
            <p:nvPr/>
          </p:nvSpPr>
          <p:spPr>
            <a:xfrm>
              <a:off x="1547664" y="530120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571F05-BCDF-DFB2-9D47-0243D112C26A}"/>
                </a:ext>
              </a:extLst>
            </p:cNvPr>
            <p:cNvSpPr txBox="1"/>
            <p:nvPr/>
          </p:nvSpPr>
          <p:spPr>
            <a:xfrm>
              <a:off x="1547664" y="494116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9C24F37-11B8-9FDB-4DD4-C440E0568E8C}"/>
                </a:ext>
              </a:extLst>
            </p:cNvPr>
            <p:cNvSpPr txBox="1"/>
            <p:nvPr/>
          </p:nvSpPr>
          <p:spPr>
            <a:xfrm>
              <a:off x="1547664" y="458112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C9934A1-B853-4C78-3F60-2D91FE527C43}"/>
                </a:ext>
              </a:extLst>
            </p:cNvPr>
            <p:cNvSpPr txBox="1"/>
            <p:nvPr/>
          </p:nvSpPr>
          <p:spPr>
            <a:xfrm>
              <a:off x="1547664" y="314096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736B3D-606C-65CC-394F-EE42D0A54403}"/>
                </a:ext>
              </a:extLst>
            </p:cNvPr>
            <p:cNvSpPr txBox="1"/>
            <p:nvPr/>
          </p:nvSpPr>
          <p:spPr>
            <a:xfrm>
              <a:off x="1547664" y="278092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50A9769-BCC3-3379-20A2-17AEAF7F268B}"/>
                </a:ext>
              </a:extLst>
            </p:cNvPr>
            <p:cNvSpPr txBox="1"/>
            <p:nvPr/>
          </p:nvSpPr>
          <p:spPr>
            <a:xfrm>
              <a:off x="1547664" y="242088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2B1A59E-3A2D-93DB-2DEA-597C91F5A731}"/>
                </a:ext>
              </a:extLst>
            </p:cNvPr>
            <p:cNvSpPr txBox="1"/>
            <p:nvPr/>
          </p:nvSpPr>
          <p:spPr>
            <a:xfrm>
              <a:off x="1547664" y="422108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6D9ABA-59DF-8BD8-A4D2-7CC4BA459757}"/>
                </a:ext>
              </a:extLst>
            </p:cNvPr>
            <p:cNvSpPr txBox="1"/>
            <p:nvPr/>
          </p:nvSpPr>
          <p:spPr>
            <a:xfrm>
              <a:off x="1547664" y="386104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6DB5499-3C2C-74C0-E69E-8E02A499BC3C}"/>
                </a:ext>
              </a:extLst>
            </p:cNvPr>
            <p:cNvSpPr txBox="1"/>
            <p:nvPr/>
          </p:nvSpPr>
          <p:spPr>
            <a:xfrm>
              <a:off x="1547664" y="350100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DCA4D80-0CC3-A4B7-AD39-E1ECA79C9F64}"/>
              </a:ext>
            </a:extLst>
          </p:cNvPr>
          <p:cNvGrpSpPr/>
          <p:nvPr/>
        </p:nvGrpSpPr>
        <p:grpSpPr>
          <a:xfrm>
            <a:off x="4962461" y="2133080"/>
            <a:ext cx="360040" cy="3249652"/>
            <a:chOff x="3059832" y="2420888"/>
            <a:chExt cx="360040" cy="324965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FEE48B6-15E3-2D30-021C-5E7D33115A55}"/>
                </a:ext>
              </a:extLst>
            </p:cNvPr>
            <p:cNvSpPr txBox="1"/>
            <p:nvPr/>
          </p:nvSpPr>
          <p:spPr>
            <a:xfrm>
              <a:off x="3059832" y="530120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FB7BE7E-157A-5E3D-4339-044EBCD380D3}"/>
                </a:ext>
              </a:extLst>
            </p:cNvPr>
            <p:cNvSpPr txBox="1"/>
            <p:nvPr/>
          </p:nvSpPr>
          <p:spPr>
            <a:xfrm>
              <a:off x="3059832" y="458112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F37FBDA-3096-3E17-69A2-4C8A9964409E}"/>
                </a:ext>
              </a:extLst>
            </p:cNvPr>
            <p:cNvSpPr txBox="1"/>
            <p:nvPr/>
          </p:nvSpPr>
          <p:spPr>
            <a:xfrm>
              <a:off x="3059832" y="494116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4ED40FD-7451-783F-064F-D8C8D65C03FB}"/>
                </a:ext>
              </a:extLst>
            </p:cNvPr>
            <p:cNvSpPr txBox="1"/>
            <p:nvPr/>
          </p:nvSpPr>
          <p:spPr>
            <a:xfrm>
              <a:off x="3059832" y="422108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9BD1792-81C2-CFA5-3F20-5D2282F32A81}"/>
                </a:ext>
              </a:extLst>
            </p:cNvPr>
            <p:cNvSpPr txBox="1"/>
            <p:nvPr/>
          </p:nvSpPr>
          <p:spPr>
            <a:xfrm>
              <a:off x="3059832" y="350100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667FDF2-5962-C346-69ED-2F7F9557EEAC}"/>
                </a:ext>
              </a:extLst>
            </p:cNvPr>
            <p:cNvSpPr txBox="1"/>
            <p:nvPr/>
          </p:nvSpPr>
          <p:spPr>
            <a:xfrm>
              <a:off x="3059832" y="386104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B6C9C37-E0F9-9986-FC0E-4B1FB41AFF19}"/>
                </a:ext>
              </a:extLst>
            </p:cNvPr>
            <p:cNvSpPr txBox="1"/>
            <p:nvPr/>
          </p:nvSpPr>
          <p:spPr>
            <a:xfrm>
              <a:off x="3059832" y="314096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A006633-2474-2416-5AAB-1367C027363A}"/>
                </a:ext>
              </a:extLst>
            </p:cNvPr>
            <p:cNvSpPr txBox="1"/>
            <p:nvPr/>
          </p:nvSpPr>
          <p:spPr>
            <a:xfrm>
              <a:off x="3059832" y="242088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A1F8D1E-12C3-C39A-4675-2FF0EAC114F5}"/>
                </a:ext>
              </a:extLst>
            </p:cNvPr>
            <p:cNvSpPr txBox="1"/>
            <p:nvPr/>
          </p:nvSpPr>
          <p:spPr>
            <a:xfrm>
              <a:off x="3059832" y="278092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DB97430-E718-F166-6FF5-0034182B3E53}"/>
              </a:ext>
            </a:extLst>
          </p:cNvPr>
          <p:cNvGrpSpPr/>
          <p:nvPr/>
        </p:nvGrpSpPr>
        <p:grpSpPr>
          <a:xfrm>
            <a:off x="6618645" y="2133080"/>
            <a:ext cx="360040" cy="3249652"/>
            <a:chOff x="4932040" y="2492896"/>
            <a:chExt cx="360040" cy="324965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DEF965F-EC78-1F7E-4EB9-ED75E06C486A}"/>
                </a:ext>
              </a:extLst>
            </p:cNvPr>
            <p:cNvSpPr txBox="1"/>
            <p:nvPr/>
          </p:nvSpPr>
          <p:spPr>
            <a:xfrm>
              <a:off x="4932040" y="537321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B35F2F-C989-CEE9-66AC-32E5B4332C09}"/>
                </a:ext>
              </a:extLst>
            </p:cNvPr>
            <p:cNvSpPr txBox="1"/>
            <p:nvPr/>
          </p:nvSpPr>
          <p:spPr>
            <a:xfrm>
              <a:off x="4932040" y="501317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40EB3E1-A5EB-AE03-A27E-0EAECD6A09FE}"/>
                </a:ext>
              </a:extLst>
            </p:cNvPr>
            <p:cNvSpPr txBox="1"/>
            <p:nvPr/>
          </p:nvSpPr>
          <p:spPr>
            <a:xfrm>
              <a:off x="4932040" y="465313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019063A-328E-A2FF-2C1F-1E238D0657D1}"/>
                </a:ext>
              </a:extLst>
            </p:cNvPr>
            <p:cNvSpPr txBox="1"/>
            <p:nvPr/>
          </p:nvSpPr>
          <p:spPr>
            <a:xfrm>
              <a:off x="4932040" y="429309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AA116EA-5BAE-A6A0-0325-94281BEA2169}"/>
                </a:ext>
              </a:extLst>
            </p:cNvPr>
            <p:cNvSpPr txBox="1"/>
            <p:nvPr/>
          </p:nvSpPr>
          <p:spPr>
            <a:xfrm>
              <a:off x="4932040" y="393305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46DDE9D-638D-9BB7-0939-4630FA1D3E68}"/>
                </a:ext>
              </a:extLst>
            </p:cNvPr>
            <p:cNvSpPr txBox="1"/>
            <p:nvPr/>
          </p:nvSpPr>
          <p:spPr>
            <a:xfrm>
              <a:off x="4932040" y="357301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CCB95A3-6EF2-F32F-9DA1-4307F523CFAF}"/>
                </a:ext>
              </a:extLst>
            </p:cNvPr>
            <p:cNvSpPr txBox="1"/>
            <p:nvPr/>
          </p:nvSpPr>
          <p:spPr>
            <a:xfrm>
              <a:off x="4932040" y="321297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6C1D98F-F28B-2137-F0DC-BACFD04915CC}"/>
                </a:ext>
              </a:extLst>
            </p:cNvPr>
            <p:cNvSpPr txBox="1"/>
            <p:nvPr/>
          </p:nvSpPr>
          <p:spPr>
            <a:xfrm>
              <a:off x="4932040" y="285293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829EB84-7C8F-5002-5B94-A1999AA56BEE}"/>
                </a:ext>
              </a:extLst>
            </p:cNvPr>
            <p:cNvSpPr txBox="1"/>
            <p:nvPr/>
          </p:nvSpPr>
          <p:spPr>
            <a:xfrm>
              <a:off x="4932040" y="249289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8EB2841-8CC8-3FA0-5A19-A8CFBD6238C8}"/>
              </a:ext>
            </a:extLst>
          </p:cNvPr>
          <p:cNvGrpSpPr/>
          <p:nvPr/>
        </p:nvGrpSpPr>
        <p:grpSpPr>
          <a:xfrm>
            <a:off x="8274829" y="2133080"/>
            <a:ext cx="360040" cy="3249652"/>
            <a:chOff x="6516216" y="2492896"/>
            <a:chExt cx="360040" cy="3249652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8C5C0B2-58D8-9638-80AD-7C5FD3BF3226}"/>
                </a:ext>
              </a:extLst>
            </p:cNvPr>
            <p:cNvSpPr txBox="1"/>
            <p:nvPr/>
          </p:nvSpPr>
          <p:spPr>
            <a:xfrm>
              <a:off x="6516216" y="537321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221FADC-904D-87F9-FDE1-140E4315C1C6}"/>
                </a:ext>
              </a:extLst>
            </p:cNvPr>
            <p:cNvSpPr txBox="1"/>
            <p:nvPr/>
          </p:nvSpPr>
          <p:spPr>
            <a:xfrm>
              <a:off x="6516216" y="501317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6C79F57-8FA6-6D4F-041A-8B5FA0F1D414}"/>
                </a:ext>
              </a:extLst>
            </p:cNvPr>
            <p:cNvSpPr txBox="1"/>
            <p:nvPr/>
          </p:nvSpPr>
          <p:spPr>
            <a:xfrm>
              <a:off x="6516216" y="465313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36D6D76-294E-46D1-8492-B126633AD952}"/>
                </a:ext>
              </a:extLst>
            </p:cNvPr>
            <p:cNvSpPr txBox="1"/>
            <p:nvPr/>
          </p:nvSpPr>
          <p:spPr>
            <a:xfrm>
              <a:off x="6516216" y="429309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9C50E83-4206-4806-00E9-4A61029279FD}"/>
                </a:ext>
              </a:extLst>
            </p:cNvPr>
            <p:cNvSpPr txBox="1"/>
            <p:nvPr/>
          </p:nvSpPr>
          <p:spPr>
            <a:xfrm>
              <a:off x="6516216" y="393305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4B6689E-533B-3787-D7CC-167C64D6A254}"/>
                </a:ext>
              </a:extLst>
            </p:cNvPr>
            <p:cNvSpPr txBox="1"/>
            <p:nvPr/>
          </p:nvSpPr>
          <p:spPr>
            <a:xfrm>
              <a:off x="6516216" y="357301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D103B4E-4292-FD3E-ADA1-9091315C219D}"/>
                </a:ext>
              </a:extLst>
            </p:cNvPr>
            <p:cNvSpPr txBox="1"/>
            <p:nvPr/>
          </p:nvSpPr>
          <p:spPr>
            <a:xfrm>
              <a:off x="6516216" y="321297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B03BF97-FB2F-E280-AB85-137A93B844E1}"/>
                </a:ext>
              </a:extLst>
            </p:cNvPr>
            <p:cNvSpPr txBox="1"/>
            <p:nvPr/>
          </p:nvSpPr>
          <p:spPr>
            <a:xfrm>
              <a:off x="6516216" y="285293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9BA7AB2-9462-3379-5A9F-5B59A87F09F2}"/>
                </a:ext>
              </a:extLst>
            </p:cNvPr>
            <p:cNvSpPr txBox="1"/>
            <p:nvPr/>
          </p:nvSpPr>
          <p:spPr>
            <a:xfrm>
              <a:off x="6516216" y="249289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35F6448-B800-0F44-704C-9B66AAFA626E}"/>
              </a:ext>
            </a:extLst>
          </p:cNvPr>
          <p:cNvSpPr/>
          <p:nvPr/>
        </p:nvSpPr>
        <p:spPr>
          <a:xfrm flipV="1">
            <a:off x="3162261" y="2061072"/>
            <a:ext cx="648072" cy="3456384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8" name="Right Arrow 54">
            <a:extLst>
              <a:ext uri="{FF2B5EF4-FFF2-40B4-BE49-F238E27FC236}">
                <a16:creationId xmlns:a16="http://schemas.microsoft.com/office/drawing/2014/main" id="{21785F04-5BB9-28A9-B39C-D831F29F121B}"/>
              </a:ext>
            </a:extLst>
          </p:cNvPr>
          <p:cNvSpPr/>
          <p:nvPr/>
        </p:nvSpPr>
        <p:spPr>
          <a:xfrm rot="14764633">
            <a:off x="3595695" y="5579804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DB062AD-1BAB-D976-63A9-CE7DBEC66638}"/>
              </a:ext>
            </a:extLst>
          </p:cNvPr>
          <p:cNvSpPr txBox="1"/>
          <p:nvPr/>
        </p:nvSpPr>
        <p:spPr>
          <a:xfrm>
            <a:off x="839370" y="1340257"/>
            <a:ext cx="19225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A</a:t>
            </a: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6565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08403 " pathEditMode="relative" ptsTypes="AA">
                                      <p:cBhvr>
                                        <p:cTn id="1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08403 " pathEditMode="relative" ptsTypes="AA">
                                      <p:cBhvr>
                                        <p:cTn id="16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7" grpId="1" animBg="1"/>
      <p:bldP spid="4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B5D154-78A5-3D95-20A3-1CDB6AFE06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What are indexes?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30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428D0-C824-9623-CB66-4DAECAF13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syntax</a:t>
            </a:r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FF1D4B-392D-3DEB-A225-52CEBB0C5858}"/>
              </a:ext>
            </a:extLst>
          </p:cNvPr>
          <p:cNvSpPr txBox="1"/>
          <p:nvPr/>
        </p:nvSpPr>
        <p:spPr>
          <a:xfrm>
            <a:off x="838200" y="1496385"/>
            <a:ext cx="847441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CI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column1, ...]</a:t>
            </a: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|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_ARCHIV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9B019C-B521-7104-108C-6C1BAFE0FC68}"/>
              </a:ext>
            </a:extLst>
          </p:cNvPr>
          <p:cNvSpPr txBox="1"/>
          <p:nvPr/>
        </p:nvSpPr>
        <p:spPr>
          <a:xfrm>
            <a:off x="838200" y="3302487"/>
            <a:ext cx="847441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NON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CI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column1, ...]</a:t>
            </a:r>
          </a:p>
          <a:p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HERE </a:t>
            </a:r>
            <a:r>
              <a:rPr lang="nl-BE" b="0" i="1" dirty="0">
                <a:solidFill>
                  <a:srgbClr val="006881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nl-BE" b="0" i="1" dirty="0" err="1">
                <a:solidFill>
                  <a:srgbClr val="006881"/>
                </a:solidFill>
                <a:effectLst/>
                <a:latin typeface="Consolas" panose="020B0609020204030204" pitchFamily="49" charset="0"/>
              </a:rPr>
              <a:t>filter_expression</a:t>
            </a:r>
            <a:r>
              <a:rPr lang="nl-BE" b="0" i="1" dirty="0">
                <a:solidFill>
                  <a:srgbClr val="006881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|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_ARCHIV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536D13-97A3-3264-4192-08D32622E9DB}"/>
              </a:ext>
            </a:extLst>
          </p:cNvPr>
          <p:cNvSpPr txBox="1"/>
          <p:nvPr/>
        </p:nvSpPr>
        <p:spPr>
          <a:xfrm>
            <a:off x="838199" y="5426613"/>
            <a:ext cx="93494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Bef>
                <a:spcPts val="500"/>
              </a:spcBef>
              <a:buClr>
                <a:schemeClr val="accent2"/>
              </a:buClr>
            </a:pPr>
            <a:r>
              <a:rPr lang="en-US" sz="2000" dirty="0"/>
              <a:t>Be sure to check </a:t>
            </a:r>
            <a:r>
              <a:rPr lang="en-US" sz="2000" dirty="0">
                <a:hlinkClick r:id="rId2"/>
              </a:rPr>
              <a:t>MS Learn</a:t>
            </a:r>
            <a:r>
              <a:rPr lang="en-US" sz="2000" dirty="0"/>
              <a:t> (also </a:t>
            </a:r>
            <a:r>
              <a:rPr lang="en-US" sz="2000" dirty="0">
                <a:hlinkClick r:id="rId3"/>
              </a:rPr>
              <a:t>here</a:t>
            </a:r>
            <a:r>
              <a:rPr lang="en-US" sz="2000" dirty="0"/>
              <a:t>) to verify limitations between different versions and products 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53276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A55CF-4928-E489-2E66-669C55340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internals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FB32B6-5CFE-3707-1FC6-57D2D9003A08}"/>
              </a:ext>
            </a:extLst>
          </p:cNvPr>
          <p:cNvSpPr txBox="1"/>
          <p:nvPr/>
        </p:nvSpPr>
        <p:spPr>
          <a:xfrm>
            <a:off x="1232380" y="60880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9B3285-B976-3139-AB78-3C39676B7CE6}"/>
              </a:ext>
            </a:extLst>
          </p:cNvPr>
          <p:cNvSpPr txBox="1"/>
          <p:nvPr/>
        </p:nvSpPr>
        <p:spPr>
          <a:xfrm>
            <a:off x="1232380" y="572802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E7C092-F7B5-A749-E587-122CA8FF0E5A}"/>
              </a:ext>
            </a:extLst>
          </p:cNvPr>
          <p:cNvSpPr txBox="1"/>
          <p:nvPr/>
        </p:nvSpPr>
        <p:spPr>
          <a:xfrm>
            <a:off x="1232380" y="536798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046023-0870-57A7-8FC8-91DB0A14E292}"/>
              </a:ext>
            </a:extLst>
          </p:cNvPr>
          <p:cNvSpPr txBox="1"/>
          <p:nvPr/>
        </p:nvSpPr>
        <p:spPr>
          <a:xfrm>
            <a:off x="1232380" y="248551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6839FA-57B2-5E38-7C28-B919A51E2E7E}"/>
              </a:ext>
            </a:extLst>
          </p:cNvPr>
          <p:cNvSpPr txBox="1"/>
          <p:nvPr/>
        </p:nvSpPr>
        <p:spPr>
          <a:xfrm>
            <a:off x="1232380" y="212547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296171-EF0E-FD4F-16C9-23F388D5B0F1}"/>
              </a:ext>
            </a:extLst>
          </p:cNvPr>
          <p:cNvSpPr txBox="1"/>
          <p:nvPr/>
        </p:nvSpPr>
        <p:spPr>
          <a:xfrm>
            <a:off x="1232380" y="176543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923821-AA66-919E-E1BD-58DA0EF7CC19}"/>
              </a:ext>
            </a:extLst>
          </p:cNvPr>
          <p:cNvSpPr txBox="1"/>
          <p:nvPr/>
        </p:nvSpPr>
        <p:spPr>
          <a:xfrm>
            <a:off x="1232380" y="500794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3EDAB8-E394-B529-5718-F24789517F9A}"/>
              </a:ext>
            </a:extLst>
          </p:cNvPr>
          <p:cNvSpPr txBox="1"/>
          <p:nvPr/>
        </p:nvSpPr>
        <p:spPr>
          <a:xfrm>
            <a:off x="1232380" y="32244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C8F456-0DAF-641A-53AE-F9E088BC0BC8}"/>
              </a:ext>
            </a:extLst>
          </p:cNvPr>
          <p:cNvSpPr txBox="1"/>
          <p:nvPr/>
        </p:nvSpPr>
        <p:spPr>
          <a:xfrm>
            <a:off x="1232380" y="28455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B811BD-EE8A-2DFE-D45C-548A6E4BE339}"/>
              </a:ext>
            </a:extLst>
          </p:cNvPr>
          <p:cNvSpPr txBox="1"/>
          <p:nvPr/>
        </p:nvSpPr>
        <p:spPr>
          <a:xfrm>
            <a:off x="1766775" y="608806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C125C5-850D-81BD-E4F8-B95A8383D0BC}"/>
              </a:ext>
            </a:extLst>
          </p:cNvPr>
          <p:cNvSpPr txBox="1"/>
          <p:nvPr/>
        </p:nvSpPr>
        <p:spPr>
          <a:xfrm>
            <a:off x="1766775" y="536798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BF645CF-5E3A-C3E3-1B36-80D5A2D31539}"/>
              </a:ext>
            </a:extLst>
          </p:cNvPr>
          <p:cNvSpPr txBox="1"/>
          <p:nvPr/>
        </p:nvSpPr>
        <p:spPr>
          <a:xfrm>
            <a:off x="1766775" y="572802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CF7FDD-A670-DF11-8BE8-279DD81426A4}"/>
              </a:ext>
            </a:extLst>
          </p:cNvPr>
          <p:cNvSpPr txBox="1"/>
          <p:nvPr/>
        </p:nvSpPr>
        <p:spPr>
          <a:xfrm>
            <a:off x="1766775" y="500794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BB741A-DF48-595B-0EA7-90B3D7F7B93D}"/>
              </a:ext>
            </a:extLst>
          </p:cNvPr>
          <p:cNvSpPr txBox="1"/>
          <p:nvPr/>
        </p:nvSpPr>
        <p:spPr>
          <a:xfrm>
            <a:off x="1766775" y="284555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888D29-21EB-8273-A59E-6A69FC45C7D8}"/>
              </a:ext>
            </a:extLst>
          </p:cNvPr>
          <p:cNvSpPr txBox="1"/>
          <p:nvPr/>
        </p:nvSpPr>
        <p:spPr>
          <a:xfrm>
            <a:off x="1766775" y="464790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ADB121E-2C02-9895-1B54-3030A0A1B107}"/>
              </a:ext>
            </a:extLst>
          </p:cNvPr>
          <p:cNvSpPr txBox="1"/>
          <p:nvPr/>
        </p:nvSpPr>
        <p:spPr>
          <a:xfrm>
            <a:off x="1766775" y="248551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92D71D-3C94-8FD7-2CDC-32583EFD65D8}"/>
              </a:ext>
            </a:extLst>
          </p:cNvPr>
          <p:cNvSpPr txBox="1"/>
          <p:nvPr/>
        </p:nvSpPr>
        <p:spPr>
          <a:xfrm>
            <a:off x="1766775" y="176543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F5520D-1B7F-561D-4EE4-D3EE2B27C728}"/>
              </a:ext>
            </a:extLst>
          </p:cNvPr>
          <p:cNvSpPr txBox="1"/>
          <p:nvPr/>
        </p:nvSpPr>
        <p:spPr>
          <a:xfrm>
            <a:off x="1766775" y="212547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A8F15C1-978D-AFD3-318D-0D7CA96A459A}"/>
              </a:ext>
            </a:extLst>
          </p:cNvPr>
          <p:cNvSpPr txBox="1"/>
          <p:nvPr/>
        </p:nvSpPr>
        <p:spPr>
          <a:xfrm>
            <a:off x="2301170" y="608806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6E962F-CA22-A387-121C-CA578785F0B8}"/>
              </a:ext>
            </a:extLst>
          </p:cNvPr>
          <p:cNvSpPr txBox="1"/>
          <p:nvPr/>
        </p:nvSpPr>
        <p:spPr>
          <a:xfrm>
            <a:off x="2301170" y="572802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887A77-5D5E-0220-4FB8-42CBFD5A7628}"/>
              </a:ext>
            </a:extLst>
          </p:cNvPr>
          <p:cNvSpPr txBox="1"/>
          <p:nvPr/>
        </p:nvSpPr>
        <p:spPr>
          <a:xfrm>
            <a:off x="2301170" y="536798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8AB404-3ABC-E10D-A1B3-81BD215E5E6C}"/>
              </a:ext>
            </a:extLst>
          </p:cNvPr>
          <p:cNvSpPr txBox="1"/>
          <p:nvPr/>
        </p:nvSpPr>
        <p:spPr>
          <a:xfrm>
            <a:off x="2301170" y="500794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8B04117-73C1-40B4-98A4-EF2D16338F1F}"/>
              </a:ext>
            </a:extLst>
          </p:cNvPr>
          <p:cNvSpPr txBox="1"/>
          <p:nvPr/>
        </p:nvSpPr>
        <p:spPr>
          <a:xfrm>
            <a:off x="2301170" y="464790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2BB7EE9-337E-A3E2-CDF4-F306D2136EF7}"/>
              </a:ext>
            </a:extLst>
          </p:cNvPr>
          <p:cNvSpPr txBox="1"/>
          <p:nvPr/>
        </p:nvSpPr>
        <p:spPr>
          <a:xfrm>
            <a:off x="2301170" y="42595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BAA3051-0966-10CF-5B59-C3B3A5924F80}"/>
              </a:ext>
            </a:extLst>
          </p:cNvPr>
          <p:cNvSpPr txBox="1"/>
          <p:nvPr/>
        </p:nvSpPr>
        <p:spPr>
          <a:xfrm>
            <a:off x="2301170" y="248551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D932CAD-5A7D-A295-8E1C-1C41F6DA9D92}"/>
              </a:ext>
            </a:extLst>
          </p:cNvPr>
          <p:cNvSpPr txBox="1"/>
          <p:nvPr/>
        </p:nvSpPr>
        <p:spPr>
          <a:xfrm>
            <a:off x="2301170" y="212547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81C0E3D-E753-69F6-66B7-5BD29EDC1432}"/>
              </a:ext>
            </a:extLst>
          </p:cNvPr>
          <p:cNvSpPr txBox="1"/>
          <p:nvPr/>
        </p:nvSpPr>
        <p:spPr>
          <a:xfrm>
            <a:off x="2301170" y="176543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3F1AE6-05D1-9726-A762-6794A20CABB2}"/>
              </a:ext>
            </a:extLst>
          </p:cNvPr>
          <p:cNvSpPr txBox="1"/>
          <p:nvPr/>
        </p:nvSpPr>
        <p:spPr>
          <a:xfrm>
            <a:off x="2835565" y="608806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0B9F0FF-2B80-F4AD-3CE4-6A8780561B22}"/>
              </a:ext>
            </a:extLst>
          </p:cNvPr>
          <p:cNvSpPr txBox="1"/>
          <p:nvPr/>
        </p:nvSpPr>
        <p:spPr>
          <a:xfrm>
            <a:off x="2835565" y="572802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C6D655-795F-BFBA-86CA-DC83D1884B8C}"/>
              </a:ext>
            </a:extLst>
          </p:cNvPr>
          <p:cNvSpPr txBox="1"/>
          <p:nvPr/>
        </p:nvSpPr>
        <p:spPr>
          <a:xfrm>
            <a:off x="2835565" y="536798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8B0D62-28E1-1D33-9A68-A9D21C19479E}"/>
              </a:ext>
            </a:extLst>
          </p:cNvPr>
          <p:cNvSpPr txBox="1"/>
          <p:nvPr/>
        </p:nvSpPr>
        <p:spPr>
          <a:xfrm>
            <a:off x="2835565" y="358448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E6E2BBF-0D17-FD21-BB03-ACFF3E152E9B}"/>
              </a:ext>
            </a:extLst>
          </p:cNvPr>
          <p:cNvSpPr txBox="1"/>
          <p:nvPr/>
        </p:nvSpPr>
        <p:spPr>
          <a:xfrm>
            <a:off x="2835565" y="322444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4243EE1-F121-C14D-697C-03D2881196FF}"/>
              </a:ext>
            </a:extLst>
          </p:cNvPr>
          <p:cNvSpPr txBox="1"/>
          <p:nvPr/>
        </p:nvSpPr>
        <p:spPr>
          <a:xfrm>
            <a:off x="2835565" y="284555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5A06842-9CF3-ECA0-47DF-FE412E8B9F9F}"/>
              </a:ext>
            </a:extLst>
          </p:cNvPr>
          <p:cNvSpPr txBox="1"/>
          <p:nvPr/>
        </p:nvSpPr>
        <p:spPr>
          <a:xfrm>
            <a:off x="2835565" y="248551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0AB7F7E-0E68-8900-5167-27F43C2C2CBA}"/>
              </a:ext>
            </a:extLst>
          </p:cNvPr>
          <p:cNvSpPr txBox="1"/>
          <p:nvPr/>
        </p:nvSpPr>
        <p:spPr>
          <a:xfrm>
            <a:off x="2835565" y="212547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A5AF909-8B54-D0B9-17BA-4B8A86084545}"/>
              </a:ext>
            </a:extLst>
          </p:cNvPr>
          <p:cNvSpPr txBox="1"/>
          <p:nvPr/>
        </p:nvSpPr>
        <p:spPr>
          <a:xfrm>
            <a:off x="2835565" y="176543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F2045AB-41DC-D9AD-05FB-E25F1445F4D2}"/>
              </a:ext>
            </a:extLst>
          </p:cNvPr>
          <p:cNvCxnSpPr/>
          <p:nvPr/>
        </p:nvCxnSpPr>
        <p:spPr>
          <a:xfrm>
            <a:off x="735291" y="4110087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Right Brace 40">
            <a:extLst>
              <a:ext uri="{FF2B5EF4-FFF2-40B4-BE49-F238E27FC236}">
                <a16:creationId xmlns:a16="http://schemas.microsoft.com/office/drawing/2014/main" id="{C4E26521-F94A-42EC-B825-27E99605D2E7}"/>
              </a:ext>
            </a:extLst>
          </p:cNvPr>
          <p:cNvSpPr/>
          <p:nvPr/>
        </p:nvSpPr>
        <p:spPr>
          <a:xfrm>
            <a:off x="3685880" y="1765435"/>
            <a:ext cx="207390" cy="2278664"/>
          </a:xfrm>
          <a:prstGeom prst="rightBrace">
            <a:avLst/>
          </a:prstGeom>
          <a:ln w="28575">
            <a:solidFill>
              <a:srgbClr val="FF89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4A4CBE7-69E9-7306-19C2-C1849CEA0EF9}"/>
              </a:ext>
            </a:extLst>
          </p:cNvPr>
          <p:cNvSpPr txBox="1"/>
          <p:nvPr/>
        </p:nvSpPr>
        <p:spPr>
          <a:xfrm>
            <a:off x="3841423" y="2584371"/>
            <a:ext cx="195626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>
                <a:solidFill>
                  <a:srgbClr val="FF890E"/>
                </a:solidFill>
              </a:rPr>
              <a:t>rowgroup</a:t>
            </a:r>
            <a:endParaRPr lang="en-US" sz="2400" dirty="0" err="1">
              <a:solidFill>
                <a:srgbClr val="FF890E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8B4A794-4667-2A6E-E104-DB9C6E0E7827}"/>
              </a:ext>
            </a:extLst>
          </p:cNvPr>
          <p:cNvSpPr txBox="1"/>
          <p:nvPr/>
        </p:nvSpPr>
        <p:spPr>
          <a:xfrm>
            <a:off x="6699315" y="2756617"/>
            <a:ext cx="465448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/>
              <a:t>maximum of 1,048,576 </a:t>
            </a:r>
            <a:r>
              <a:rPr lang="nl-BE" sz="2400" dirty="0" err="1"/>
              <a:t>rows</a:t>
            </a:r>
            <a:endParaRPr lang="en-US" sz="2400" dirty="0" err="1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23FC607-49E4-CA93-0405-80A00996C3BB}"/>
              </a:ext>
            </a:extLst>
          </p:cNvPr>
          <p:cNvSpPr txBox="1"/>
          <p:nvPr/>
        </p:nvSpPr>
        <p:spPr>
          <a:xfrm>
            <a:off x="6699315" y="1703664"/>
            <a:ext cx="4367753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/>
              <a:t>group</a:t>
            </a:r>
            <a:r>
              <a:rPr lang="nl-BE" sz="2400" dirty="0"/>
              <a:t> of </a:t>
            </a:r>
            <a:r>
              <a:rPr lang="nl-BE" sz="2400" dirty="0" err="1"/>
              <a:t>rows</a:t>
            </a:r>
            <a:r>
              <a:rPr lang="nl-BE" sz="2400" dirty="0"/>
              <a:t> </a:t>
            </a:r>
            <a:r>
              <a:rPr lang="nl-BE" sz="2400" dirty="0" err="1"/>
              <a:t>compressed</a:t>
            </a:r>
            <a:r>
              <a:rPr lang="nl-BE" sz="2400" dirty="0"/>
              <a:t> at </a:t>
            </a:r>
            <a:r>
              <a:rPr lang="nl-BE" sz="2400" dirty="0" err="1"/>
              <a:t>the</a:t>
            </a:r>
            <a:r>
              <a:rPr lang="nl-BE" sz="2400" dirty="0"/>
              <a:t> </a:t>
            </a:r>
            <a:r>
              <a:rPr lang="nl-BE" sz="2400" dirty="0" err="1"/>
              <a:t>same</a:t>
            </a:r>
            <a:r>
              <a:rPr lang="nl-BE" sz="2400" dirty="0"/>
              <a:t> time</a:t>
            </a:r>
            <a:endParaRPr lang="en-US" sz="2400" dirty="0" err="1"/>
          </a:p>
        </p:txBody>
      </p:sp>
      <p:sp>
        <p:nvSpPr>
          <p:cNvPr id="45" name="Right Brace 44">
            <a:extLst>
              <a:ext uri="{FF2B5EF4-FFF2-40B4-BE49-F238E27FC236}">
                <a16:creationId xmlns:a16="http://schemas.microsoft.com/office/drawing/2014/main" id="{6BF0061D-3EBA-A3B3-4B68-0F11474B195C}"/>
              </a:ext>
            </a:extLst>
          </p:cNvPr>
          <p:cNvSpPr/>
          <p:nvPr/>
        </p:nvSpPr>
        <p:spPr>
          <a:xfrm>
            <a:off x="3685880" y="5377271"/>
            <a:ext cx="207390" cy="1101757"/>
          </a:xfrm>
          <a:prstGeom prst="rightBrace">
            <a:avLst/>
          </a:prstGeom>
          <a:ln w="28575">
            <a:solidFill>
              <a:srgbClr val="F4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1F0AD72-784D-C919-B0CF-099C5D7876D3}"/>
              </a:ext>
            </a:extLst>
          </p:cNvPr>
          <p:cNvSpPr txBox="1"/>
          <p:nvPr/>
        </p:nvSpPr>
        <p:spPr>
          <a:xfrm>
            <a:off x="3841422" y="5475082"/>
            <a:ext cx="2753931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F890E"/>
                </a:solidFill>
              </a:rPr>
              <a:t>column segment</a:t>
            </a:r>
            <a:endParaRPr lang="en-US" sz="2400" dirty="0" err="1">
              <a:solidFill>
                <a:srgbClr val="FF890E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856AF8-15DF-1DB9-8D6A-FC119E611837}"/>
              </a:ext>
            </a:extLst>
          </p:cNvPr>
          <p:cNvSpPr txBox="1"/>
          <p:nvPr/>
        </p:nvSpPr>
        <p:spPr>
          <a:xfrm>
            <a:off x="6699315" y="4585902"/>
            <a:ext cx="528516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/>
              <a:t>column of data </a:t>
            </a:r>
            <a:r>
              <a:rPr lang="nl-BE" sz="2400" dirty="0" err="1"/>
              <a:t>within</a:t>
            </a:r>
            <a:r>
              <a:rPr lang="nl-BE" sz="2400" dirty="0"/>
              <a:t> </a:t>
            </a:r>
            <a:r>
              <a:rPr lang="nl-BE" sz="2400" dirty="0" err="1"/>
              <a:t>rowgroup</a:t>
            </a:r>
            <a:endParaRPr lang="en-US" sz="2400" dirty="0" err="1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A1C10C8-4E71-BE45-E21E-CF26A932D062}"/>
              </a:ext>
            </a:extLst>
          </p:cNvPr>
          <p:cNvSpPr txBox="1"/>
          <p:nvPr/>
        </p:nvSpPr>
        <p:spPr>
          <a:xfrm>
            <a:off x="6699315" y="5170781"/>
            <a:ext cx="4735398" cy="627864"/>
          </a:xfrm>
          <a:prstGeom prst="rect">
            <a:avLst/>
          </a:prstGeom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/>
              <a:t>min/max </a:t>
            </a:r>
            <a:r>
              <a:rPr lang="nl-BE" sz="2400" dirty="0" err="1"/>
              <a:t>values</a:t>
            </a:r>
            <a:r>
              <a:rPr lang="nl-BE" sz="2400" dirty="0"/>
              <a:t> are </a:t>
            </a:r>
            <a:r>
              <a:rPr lang="nl-BE" sz="2400" dirty="0" err="1"/>
              <a:t>kept</a:t>
            </a:r>
            <a:endParaRPr lang="en-US" sz="2400" dirty="0" err="1"/>
          </a:p>
        </p:txBody>
      </p:sp>
    </p:spTree>
    <p:extLst>
      <p:ext uri="{BB962C8B-B14F-4D97-AF65-F5344CB8AC3E}">
        <p14:creationId xmlns:p14="http://schemas.microsoft.com/office/powerpoint/2010/main" val="405533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/>
      <p:bldP spid="43" grpId="0"/>
      <p:bldP spid="44" grpId="0"/>
      <p:bldP spid="45" grpId="0" animBg="1"/>
      <p:bldP spid="46" grpId="0"/>
      <p:bldP spid="47" grpId="0"/>
      <p:bldP spid="4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C70F7-988E-8969-8565-E33C3FCE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internals</a:t>
            </a:r>
            <a:endParaRPr lang="nl-BE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A8F5F1D-0FD3-0D99-8FF6-34689710936A}"/>
              </a:ext>
            </a:extLst>
          </p:cNvPr>
          <p:cNvSpPr txBox="1"/>
          <p:nvPr/>
        </p:nvSpPr>
        <p:spPr>
          <a:xfrm>
            <a:off x="3913969" y="2415373"/>
            <a:ext cx="2254577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>
                <a:solidFill>
                  <a:srgbClr val="F47321"/>
                </a:solidFill>
              </a:rPr>
              <a:t>compressed</a:t>
            </a:r>
            <a:r>
              <a:rPr lang="nl-BE" sz="2400" dirty="0">
                <a:solidFill>
                  <a:srgbClr val="F47321"/>
                </a:solidFill>
              </a:rPr>
              <a:t> </a:t>
            </a:r>
            <a:r>
              <a:rPr lang="nl-BE" sz="2400" dirty="0" err="1">
                <a:solidFill>
                  <a:srgbClr val="F47321"/>
                </a:solidFill>
              </a:rPr>
              <a:t>rowgroup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6A67190-243D-982B-BE2F-215EB62802BD}"/>
              </a:ext>
            </a:extLst>
          </p:cNvPr>
          <p:cNvSpPr txBox="1"/>
          <p:nvPr/>
        </p:nvSpPr>
        <p:spPr>
          <a:xfrm>
            <a:off x="6422796" y="2613956"/>
            <a:ext cx="51797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47321"/>
                </a:solidFill>
              </a:rPr>
              <a:t>+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A77EEECF-D22F-3142-CA3C-BAB5CAC024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380314"/>
              </p:ext>
            </p:extLst>
          </p:nvPr>
        </p:nvGraphicFramePr>
        <p:xfrm>
          <a:off x="7449270" y="2196368"/>
          <a:ext cx="3482680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70">
                  <a:extLst>
                    <a:ext uri="{9D8B030D-6E8A-4147-A177-3AD203B41FA5}">
                      <a16:colId xmlns:a16="http://schemas.microsoft.com/office/drawing/2014/main" val="2111352519"/>
                    </a:ext>
                  </a:extLst>
                </a:gridCol>
                <a:gridCol w="870670">
                  <a:extLst>
                    <a:ext uri="{9D8B030D-6E8A-4147-A177-3AD203B41FA5}">
                      <a16:colId xmlns:a16="http://schemas.microsoft.com/office/drawing/2014/main" val="837916154"/>
                    </a:ext>
                  </a:extLst>
                </a:gridCol>
                <a:gridCol w="870670">
                  <a:extLst>
                    <a:ext uri="{9D8B030D-6E8A-4147-A177-3AD203B41FA5}">
                      <a16:colId xmlns:a16="http://schemas.microsoft.com/office/drawing/2014/main" val="1628818540"/>
                    </a:ext>
                  </a:extLst>
                </a:gridCol>
                <a:gridCol w="870670">
                  <a:extLst>
                    <a:ext uri="{9D8B030D-6E8A-4147-A177-3AD203B41FA5}">
                      <a16:colId xmlns:a16="http://schemas.microsoft.com/office/drawing/2014/main" val="3916708635"/>
                    </a:ext>
                  </a:extLst>
                </a:gridCol>
              </a:tblGrid>
              <a:tr h="30700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6754665"/>
                  </a:ext>
                </a:extLst>
              </a:tr>
              <a:tr h="30700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627842"/>
                  </a:ext>
                </a:extLst>
              </a:tr>
              <a:tr h="30700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995666"/>
                  </a:ext>
                </a:extLst>
              </a:tr>
              <a:tr h="30700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046787"/>
                  </a:ext>
                </a:extLst>
              </a:tr>
            </a:tbl>
          </a:graphicData>
        </a:graphic>
      </p:graphicFrame>
      <p:sp>
        <p:nvSpPr>
          <p:cNvPr id="45" name="TextBox 44">
            <a:extLst>
              <a:ext uri="{FF2B5EF4-FFF2-40B4-BE49-F238E27FC236}">
                <a16:creationId xmlns:a16="http://schemas.microsoft.com/office/drawing/2014/main" id="{62051441-F4B3-1ACE-87CC-B2BBE6BB3C52}"/>
              </a:ext>
            </a:extLst>
          </p:cNvPr>
          <p:cNvSpPr txBox="1"/>
          <p:nvPr/>
        </p:nvSpPr>
        <p:spPr>
          <a:xfrm>
            <a:off x="8160731" y="3676114"/>
            <a:ext cx="242324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47321"/>
                </a:solidFill>
              </a:rPr>
              <a:t>deltastore (</a:t>
            </a:r>
            <a:r>
              <a:rPr lang="nl-BE" sz="2400" dirty="0" err="1">
                <a:solidFill>
                  <a:srgbClr val="F47321"/>
                </a:solidFill>
              </a:rPr>
              <a:t>row</a:t>
            </a:r>
            <a:r>
              <a:rPr lang="nl-BE" sz="2400" dirty="0">
                <a:solidFill>
                  <a:srgbClr val="F47321"/>
                </a:solidFill>
              </a:rPr>
              <a:t> storage)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897A3D9-7339-0D42-E045-CBA391D199E1}"/>
              </a:ext>
            </a:extLst>
          </p:cNvPr>
          <p:cNvSpPr/>
          <p:nvPr/>
        </p:nvSpPr>
        <p:spPr>
          <a:xfrm>
            <a:off x="609600" y="1765435"/>
            <a:ext cx="326796" cy="21883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 delete bitmap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00987F5-212D-6A71-1D06-6BD56A9F6215}"/>
              </a:ext>
            </a:extLst>
          </p:cNvPr>
          <p:cNvSpPr/>
          <p:nvPr/>
        </p:nvSpPr>
        <p:spPr>
          <a:xfrm>
            <a:off x="609600" y="4259579"/>
            <a:ext cx="326796" cy="21978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 delete bitmap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22C679E-1AEB-DF85-0232-E7B115F343A0}"/>
              </a:ext>
            </a:extLst>
          </p:cNvPr>
          <p:cNvSpPr txBox="1"/>
          <p:nvPr/>
        </p:nvSpPr>
        <p:spPr>
          <a:xfrm>
            <a:off x="1232380" y="60880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A63B8B2-51ED-F491-1493-C575AC6A70F6}"/>
              </a:ext>
            </a:extLst>
          </p:cNvPr>
          <p:cNvSpPr txBox="1"/>
          <p:nvPr/>
        </p:nvSpPr>
        <p:spPr>
          <a:xfrm>
            <a:off x="1232380" y="572802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51A094F-2925-BE9F-0BB2-63AA190DE22E}"/>
              </a:ext>
            </a:extLst>
          </p:cNvPr>
          <p:cNvSpPr txBox="1"/>
          <p:nvPr/>
        </p:nvSpPr>
        <p:spPr>
          <a:xfrm>
            <a:off x="1232380" y="536798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67BD764-0EEF-CBB7-BB8F-594656B2EEF0}"/>
              </a:ext>
            </a:extLst>
          </p:cNvPr>
          <p:cNvSpPr txBox="1"/>
          <p:nvPr/>
        </p:nvSpPr>
        <p:spPr>
          <a:xfrm>
            <a:off x="1232380" y="248551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3D3C569-14D7-BD67-4AF3-9070A2E4F0FF}"/>
              </a:ext>
            </a:extLst>
          </p:cNvPr>
          <p:cNvSpPr txBox="1"/>
          <p:nvPr/>
        </p:nvSpPr>
        <p:spPr>
          <a:xfrm>
            <a:off x="1232380" y="212547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8B37A62-17BB-A53A-EDA8-8938FEF9DDDE}"/>
              </a:ext>
            </a:extLst>
          </p:cNvPr>
          <p:cNvSpPr txBox="1"/>
          <p:nvPr/>
        </p:nvSpPr>
        <p:spPr>
          <a:xfrm>
            <a:off x="1232380" y="176543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1175F99-0A83-5DE4-A188-A96A87F78594}"/>
              </a:ext>
            </a:extLst>
          </p:cNvPr>
          <p:cNvSpPr txBox="1"/>
          <p:nvPr/>
        </p:nvSpPr>
        <p:spPr>
          <a:xfrm>
            <a:off x="1232380" y="500794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5D53191-703B-84F0-DF39-C264CBBF68E0}"/>
              </a:ext>
            </a:extLst>
          </p:cNvPr>
          <p:cNvSpPr txBox="1"/>
          <p:nvPr/>
        </p:nvSpPr>
        <p:spPr>
          <a:xfrm>
            <a:off x="1232380" y="32244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5AE0E0E-BF7E-F6D6-5303-28BFF38F51ED}"/>
              </a:ext>
            </a:extLst>
          </p:cNvPr>
          <p:cNvSpPr txBox="1"/>
          <p:nvPr/>
        </p:nvSpPr>
        <p:spPr>
          <a:xfrm>
            <a:off x="1232380" y="28455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5E8C9EE-2E26-16F3-0436-09ED8DBA088F}"/>
              </a:ext>
            </a:extLst>
          </p:cNvPr>
          <p:cNvSpPr txBox="1"/>
          <p:nvPr/>
        </p:nvSpPr>
        <p:spPr>
          <a:xfrm>
            <a:off x="1766775" y="608806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09A0FEC-987A-9A0B-DF84-567C85AADB03}"/>
              </a:ext>
            </a:extLst>
          </p:cNvPr>
          <p:cNvSpPr txBox="1"/>
          <p:nvPr/>
        </p:nvSpPr>
        <p:spPr>
          <a:xfrm>
            <a:off x="1766775" y="536798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4E4D744-8EC4-C8F0-D43F-DC0C1CF70178}"/>
              </a:ext>
            </a:extLst>
          </p:cNvPr>
          <p:cNvSpPr txBox="1"/>
          <p:nvPr/>
        </p:nvSpPr>
        <p:spPr>
          <a:xfrm>
            <a:off x="1766775" y="572802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4A71B79-23B8-4679-9047-F051CF86E2DE}"/>
              </a:ext>
            </a:extLst>
          </p:cNvPr>
          <p:cNvSpPr txBox="1"/>
          <p:nvPr/>
        </p:nvSpPr>
        <p:spPr>
          <a:xfrm>
            <a:off x="1766775" y="500794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E65F024-C783-A75A-8BA0-5B3188FA3B79}"/>
              </a:ext>
            </a:extLst>
          </p:cNvPr>
          <p:cNvSpPr txBox="1"/>
          <p:nvPr/>
        </p:nvSpPr>
        <p:spPr>
          <a:xfrm>
            <a:off x="1766775" y="284555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1B47B0-BDD9-3AE6-11E2-69D057A19E91}"/>
              </a:ext>
            </a:extLst>
          </p:cNvPr>
          <p:cNvSpPr txBox="1"/>
          <p:nvPr/>
        </p:nvSpPr>
        <p:spPr>
          <a:xfrm>
            <a:off x="1766775" y="464790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1D095FC-E879-E7FE-C1C2-E0EE2CE6D50B}"/>
              </a:ext>
            </a:extLst>
          </p:cNvPr>
          <p:cNvSpPr txBox="1"/>
          <p:nvPr/>
        </p:nvSpPr>
        <p:spPr>
          <a:xfrm>
            <a:off x="1766775" y="248551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EED0B3B-82C0-D8A2-F392-2D9EB9C20458}"/>
              </a:ext>
            </a:extLst>
          </p:cNvPr>
          <p:cNvSpPr txBox="1"/>
          <p:nvPr/>
        </p:nvSpPr>
        <p:spPr>
          <a:xfrm>
            <a:off x="1766775" y="176543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EA618C2-349C-7B3C-9B63-0A910C2253EF}"/>
              </a:ext>
            </a:extLst>
          </p:cNvPr>
          <p:cNvSpPr txBox="1"/>
          <p:nvPr/>
        </p:nvSpPr>
        <p:spPr>
          <a:xfrm>
            <a:off x="1766775" y="212547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05FE839-1883-CBA7-AF8B-77C550CCF775}"/>
              </a:ext>
            </a:extLst>
          </p:cNvPr>
          <p:cNvSpPr txBox="1"/>
          <p:nvPr/>
        </p:nvSpPr>
        <p:spPr>
          <a:xfrm>
            <a:off x="2301170" y="608806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52B31C3-E393-DF04-CD53-D3A04F861800}"/>
              </a:ext>
            </a:extLst>
          </p:cNvPr>
          <p:cNvSpPr txBox="1"/>
          <p:nvPr/>
        </p:nvSpPr>
        <p:spPr>
          <a:xfrm>
            <a:off x="2301170" y="572802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37E636A-D197-4880-D658-CEE488AE38D5}"/>
              </a:ext>
            </a:extLst>
          </p:cNvPr>
          <p:cNvSpPr txBox="1"/>
          <p:nvPr/>
        </p:nvSpPr>
        <p:spPr>
          <a:xfrm>
            <a:off x="2301170" y="536798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8F47CAE-5881-B3EC-707D-C113603223A9}"/>
              </a:ext>
            </a:extLst>
          </p:cNvPr>
          <p:cNvSpPr txBox="1"/>
          <p:nvPr/>
        </p:nvSpPr>
        <p:spPr>
          <a:xfrm>
            <a:off x="2301170" y="500794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EEAA972-C628-2581-82ED-3671ED25C27D}"/>
              </a:ext>
            </a:extLst>
          </p:cNvPr>
          <p:cNvSpPr txBox="1"/>
          <p:nvPr/>
        </p:nvSpPr>
        <p:spPr>
          <a:xfrm>
            <a:off x="2301170" y="464790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6168E0A-1A6D-21F9-DB42-70BF618740DE}"/>
              </a:ext>
            </a:extLst>
          </p:cNvPr>
          <p:cNvSpPr txBox="1"/>
          <p:nvPr/>
        </p:nvSpPr>
        <p:spPr>
          <a:xfrm>
            <a:off x="2301170" y="42595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38E64FE-DFBE-5862-AAF5-D8A664908053}"/>
              </a:ext>
            </a:extLst>
          </p:cNvPr>
          <p:cNvSpPr txBox="1"/>
          <p:nvPr/>
        </p:nvSpPr>
        <p:spPr>
          <a:xfrm>
            <a:off x="2301170" y="248551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74E20A6-0488-0AB5-C5EF-7969D571A16D}"/>
              </a:ext>
            </a:extLst>
          </p:cNvPr>
          <p:cNvSpPr txBox="1"/>
          <p:nvPr/>
        </p:nvSpPr>
        <p:spPr>
          <a:xfrm>
            <a:off x="2301170" y="212547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5AF8068-BC18-F449-3C84-8ECF58CF1A75}"/>
              </a:ext>
            </a:extLst>
          </p:cNvPr>
          <p:cNvSpPr txBox="1"/>
          <p:nvPr/>
        </p:nvSpPr>
        <p:spPr>
          <a:xfrm>
            <a:off x="2301170" y="176543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8D6C572-0190-4426-13B7-34750D191AC4}"/>
              </a:ext>
            </a:extLst>
          </p:cNvPr>
          <p:cNvSpPr txBox="1"/>
          <p:nvPr/>
        </p:nvSpPr>
        <p:spPr>
          <a:xfrm>
            <a:off x="2835565" y="608806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265598D-C844-5B48-29D4-BCA0F0738390}"/>
              </a:ext>
            </a:extLst>
          </p:cNvPr>
          <p:cNvSpPr txBox="1"/>
          <p:nvPr/>
        </p:nvSpPr>
        <p:spPr>
          <a:xfrm>
            <a:off x="2835565" y="572802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C901FB9-7834-40A8-8583-C34E7FCFF3B5}"/>
              </a:ext>
            </a:extLst>
          </p:cNvPr>
          <p:cNvSpPr txBox="1"/>
          <p:nvPr/>
        </p:nvSpPr>
        <p:spPr>
          <a:xfrm>
            <a:off x="2835565" y="536798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E3D43AA-6817-E377-4592-EF0F01DDCC7F}"/>
              </a:ext>
            </a:extLst>
          </p:cNvPr>
          <p:cNvSpPr txBox="1"/>
          <p:nvPr/>
        </p:nvSpPr>
        <p:spPr>
          <a:xfrm>
            <a:off x="2835565" y="358448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407A98D-1C5A-3479-6C2F-C14BE8C0E1BB}"/>
              </a:ext>
            </a:extLst>
          </p:cNvPr>
          <p:cNvSpPr txBox="1"/>
          <p:nvPr/>
        </p:nvSpPr>
        <p:spPr>
          <a:xfrm>
            <a:off x="2835565" y="322444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FFEA20A-E78A-5D40-7A50-B645F02E38B1}"/>
              </a:ext>
            </a:extLst>
          </p:cNvPr>
          <p:cNvSpPr txBox="1"/>
          <p:nvPr/>
        </p:nvSpPr>
        <p:spPr>
          <a:xfrm>
            <a:off x="2835565" y="284555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C288C3F-ABE5-BA3B-050B-7E7F1B71ABB1}"/>
              </a:ext>
            </a:extLst>
          </p:cNvPr>
          <p:cNvSpPr txBox="1"/>
          <p:nvPr/>
        </p:nvSpPr>
        <p:spPr>
          <a:xfrm>
            <a:off x="2835565" y="248551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1CCDAA9-B53C-4A70-2A73-4E5B77F1222B}"/>
              </a:ext>
            </a:extLst>
          </p:cNvPr>
          <p:cNvSpPr txBox="1"/>
          <p:nvPr/>
        </p:nvSpPr>
        <p:spPr>
          <a:xfrm>
            <a:off x="2835565" y="212547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A91B1E5-F8CF-A8E2-54C3-4B6A1680C81C}"/>
              </a:ext>
            </a:extLst>
          </p:cNvPr>
          <p:cNvSpPr txBox="1"/>
          <p:nvPr/>
        </p:nvSpPr>
        <p:spPr>
          <a:xfrm>
            <a:off x="2835565" y="176543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77A49D5-41BD-3592-3688-FE430C9CA385}"/>
              </a:ext>
            </a:extLst>
          </p:cNvPr>
          <p:cNvCxnSpPr/>
          <p:nvPr/>
        </p:nvCxnSpPr>
        <p:spPr>
          <a:xfrm>
            <a:off x="735291" y="4110087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5" name="Right Brace 84">
            <a:extLst>
              <a:ext uri="{FF2B5EF4-FFF2-40B4-BE49-F238E27FC236}">
                <a16:creationId xmlns:a16="http://schemas.microsoft.com/office/drawing/2014/main" id="{6D8EF8B2-D4C7-36D3-F5D4-E1EAAF275BFD}"/>
              </a:ext>
            </a:extLst>
          </p:cNvPr>
          <p:cNvSpPr/>
          <p:nvPr/>
        </p:nvSpPr>
        <p:spPr>
          <a:xfrm>
            <a:off x="3685880" y="1765435"/>
            <a:ext cx="207390" cy="2278664"/>
          </a:xfrm>
          <a:prstGeom prst="rightBrace">
            <a:avLst/>
          </a:prstGeom>
          <a:ln w="28575">
            <a:solidFill>
              <a:srgbClr val="FF89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015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5" grpId="0"/>
      <p:bldP spid="85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AD983-0023-DD4D-D21B-6A6A86793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segment elimination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71FC60-9AB7-3FC3-E006-594F03945D73}"/>
              </a:ext>
            </a:extLst>
          </p:cNvPr>
          <p:cNvSpPr txBox="1"/>
          <p:nvPr/>
        </p:nvSpPr>
        <p:spPr>
          <a:xfrm>
            <a:off x="1232380" y="60880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148C6F-314E-1EE0-75E8-DE9ABE603050}"/>
              </a:ext>
            </a:extLst>
          </p:cNvPr>
          <p:cNvSpPr txBox="1"/>
          <p:nvPr/>
        </p:nvSpPr>
        <p:spPr>
          <a:xfrm>
            <a:off x="1232380" y="572802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929F70-AF70-FD91-3AA2-331E05EC3A31}"/>
              </a:ext>
            </a:extLst>
          </p:cNvPr>
          <p:cNvSpPr txBox="1"/>
          <p:nvPr/>
        </p:nvSpPr>
        <p:spPr>
          <a:xfrm>
            <a:off x="1232380" y="536798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D3A27D-F9C3-407C-B21D-2ADAA63A81A5}"/>
              </a:ext>
            </a:extLst>
          </p:cNvPr>
          <p:cNvSpPr txBox="1"/>
          <p:nvPr/>
        </p:nvSpPr>
        <p:spPr>
          <a:xfrm>
            <a:off x="1232380" y="248551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AADC2D-C3CD-ADC9-0E2A-06E069112624}"/>
              </a:ext>
            </a:extLst>
          </p:cNvPr>
          <p:cNvSpPr txBox="1"/>
          <p:nvPr/>
        </p:nvSpPr>
        <p:spPr>
          <a:xfrm>
            <a:off x="1232380" y="212547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F4AC44-623A-CAD0-1A9D-AD54297D32F7}"/>
              </a:ext>
            </a:extLst>
          </p:cNvPr>
          <p:cNvSpPr txBox="1"/>
          <p:nvPr/>
        </p:nvSpPr>
        <p:spPr>
          <a:xfrm>
            <a:off x="1232380" y="176543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BF2E2D-5E3D-A49E-B32E-A82F815482BA}"/>
              </a:ext>
            </a:extLst>
          </p:cNvPr>
          <p:cNvSpPr txBox="1"/>
          <p:nvPr/>
        </p:nvSpPr>
        <p:spPr>
          <a:xfrm>
            <a:off x="1232380" y="500794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704817-77CB-994F-D999-586B56FCE78B}"/>
              </a:ext>
            </a:extLst>
          </p:cNvPr>
          <p:cNvSpPr txBox="1"/>
          <p:nvPr/>
        </p:nvSpPr>
        <p:spPr>
          <a:xfrm>
            <a:off x="1232380" y="32244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65FDFE-043E-47C3-33C9-DC61F2D0D613}"/>
              </a:ext>
            </a:extLst>
          </p:cNvPr>
          <p:cNvSpPr txBox="1"/>
          <p:nvPr/>
        </p:nvSpPr>
        <p:spPr>
          <a:xfrm>
            <a:off x="1232380" y="28455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DBD337-BF43-B353-48D4-46EABDB247DA}"/>
              </a:ext>
            </a:extLst>
          </p:cNvPr>
          <p:cNvSpPr txBox="1"/>
          <p:nvPr/>
        </p:nvSpPr>
        <p:spPr>
          <a:xfrm>
            <a:off x="1766775" y="608806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0E0F5B-4386-5FAD-D047-2C1237AE465F}"/>
              </a:ext>
            </a:extLst>
          </p:cNvPr>
          <p:cNvSpPr txBox="1"/>
          <p:nvPr/>
        </p:nvSpPr>
        <p:spPr>
          <a:xfrm>
            <a:off x="1766775" y="536798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160F12-A7D0-A1C1-4FBA-4FF9EE5AB671}"/>
              </a:ext>
            </a:extLst>
          </p:cNvPr>
          <p:cNvSpPr txBox="1"/>
          <p:nvPr/>
        </p:nvSpPr>
        <p:spPr>
          <a:xfrm>
            <a:off x="1766775" y="572802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15CB47-4209-4F3A-F147-BEFB67CA4A33}"/>
              </a:ext>
            </a:extLst>
          </p:cNvPr>
          <p:cNvSpPr txBox="1"/>
          <p:nvPr/>
        </p:nvSpPr>
        <p:spPr>
          <a:xfrm>
            <a:off x="1766775" y="500794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26496E-C32C-6A85-1850-2D90FBB8DB19}"/>
              </a:ext>
            </a:extLst>
          </p:cNvPr>
          <p:cNvSpPr txBox="1"/>
          <p:nvPr/>
        </p:nvSpPr>
        <p:spPr>
          <a:xfrm>
            <a:off x="1766775" y="284555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721C6B3-3982-5660-CBF3-05E249FE215C}"/>
              </a:ext>
            </a:extLst>
          </p:cNvPr>
          <p:cNvSpPr txBox="1"/>
          <p:nvPr/>
        </p:nvSpPr>
        <p:spPr>
          <a:xfrm>
            <a:off x="1766775" y="464790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04D6E38-B177-815D-B715-9FE5591B41EA}"/>
              </a:ext>
            </a:extLst>
          </p:cNvPr>
          <p:cNvSpPr txBox="1"/>
          <p:nvPr/>
        </p:nvSpPr>
        <p:spPr>
          <a:xfrm>
            <a:off x="1766775" y="248551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9FD74C-59E4-6E44-4D61-0F1EF98695F3}"/>
              </a:ext>
            </a:extLst>
          </p:cNvPr>
          <p:cNvSpPr txBox="1"/>
          <p:nvPr/>
        </p:nvSpPr>
        <p:spPr>
          <a:xfrm>
            <a:off x="1766775" y="176543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B163EA-CA27-5021-063E-AEC077AFF37A}"/>
              </a:ext>
            </a:extLst>
          </p:cNvPr>
          <p:cNvSpPr txBox="1"/>
          <p:nvPr/>
        </p:nvSpPr>
        <p:spPr>
          <a:xfrm>
            <a:off x="1766775" y="212547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AED5604-D06E-3CC7-7B5D-77D21A75B979}"/>
              </a:ext>
            </a:extLst>
          </p:cNvPr>
          <p:cNvSpPr txBox="1"/>
          <p:nvPr/>
        </p:nvSpPr>
        <p:spPr>
          <a:xfrm>
            <a:off x="2301170" y="608806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D1E6506-750E-1D36-75CB-9AB11802750D}"/>
              </a:ext>
            </a:extLst>
          </p:cNvPr>
          <p:cNvSpPr txBox="1"/>
          <p:nvPr/>
        </p:nvSpPr>
        <p:spPr>
          <a:xfrm>
            <a:off x="2301170" y="572802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6C814A-5922-C6E5-7FED-AB8D5BEE0F21}"/>
              </a:ext>
            </a:extLst>
          </p:cNvPr>
          <p:cNvSpPr txBox="1"/>
          <p:nvPr/>
        </p:nvSpPr>
        <p:spPr>
          <a:xfrm>
            <a:off x="2301170" y="536798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F32BF6A-C30E-2186-A1FB-E2DC42DF4419}"/>
              </a:ext>
            </a:extLst>
          </p:cNvPr>
          <p:cNvSpPr txBox="1"/>
          <p:nvPr/>
        </p:nvSpPr>
        <p:spPr>
          <a:xfrm>
            <a:off x="2301170" y="500794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417973-8FA0-D878-3A1F-E33C318B8739}"/>
              </a:ext>
            </a:extLst>
          </p:cNvPr>
          <p:cNvSpPr txBox="1"/>
          <p:nvPr/>
        </p:nvSpPr>
        <p:spPr>
          <a:xfrm>
            <a:off x="2301170" y="464790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D21F1F-EF52-E0A8-3F4C-2EF1CC2DDE9C}"/>
              </a:ext>
            </a:extLst>
          </p:cNvPr>
          <p:cNvSpPr txBox="1"/>
          <p:nvPr/>
        </p:nvSpPr>
        <p:spPr>
          <a:xfrm>
            <a:off x="2301170" y="42595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8DC308-2D43-FB1F-A926-8125171B9014}"/>
              </a:ext>
            </a:extLst>
          </p:cNvPr>
          <p:cNvSpPr txBox="1"/>
          <p:nvPr/>
        </p:nvSpPr>
        <p:spPr>
          <a:xfrm>
            <a:off x="2301170" y="248551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0CE0CB-380F-AC24-D53F-E034665FD3C7}"/>
              </a:ext>
            </a:extLst>
          </p:cNvPr>
          <p:cNvSpPr txBox="1"/>
          <p:nvPr/>
        </p:nvSpPr>
        <p:spPr>
          <a:xfrm>
            <a:off x="2301170" y="212547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D903883-A01A-65E0-4E79-BCC823D6E167}"/>
              </a:ext>
            </a:extLst>
          </p:cNvPr>
          <p:cNvSpPr txBox="1"/>
          <p:nvPr/>
        </p:nvSpPr>
        <p:spPr>
          <a:xfrm>
            <a:off x="2301170" y="176543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3E7FD0A-3687-6BD4-15A9-3405D5B6A284}"/>
              </a:ext>
            </a:extLst>
          </p:cNvPr>
          <p:cNvSpPr txBox="1"/>
          <p:nvPr/>
        </p:nvSpPr>
        <p:spPr>
          <a:xfrm>
            <a:off x="2835565" y="608806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02B7E46-1A32-EBEF-0A6F-0DCBA26F3C0D}"/>
              </a:ext>
            </a:extLst>
          </p:cNvPr>
          <p:cNvSpPr txBox="1"/>
          <p:nvPr/>
        </p:nvSpPr>
        <p:spPr>
          <a:xfrm>
            <a:off x="2835565" y="572802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A27E7FC-D8C5-7137-7EE6-595A11C1D3BA}"/>
              </a:ext>
            </a:extLst>
          </p:cNvPr>
          <p:cNvSpPr txBox="1"/>
          <p:nvPr/>
        </p:nvSpPr>
        <p:spPr>
          <a:xfrm>
            <a:off x="2835565" y="536798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437E98-F0B0-514E-45E7-7066E4F82935}"/>
              </a:ext>
            </a:extLst>
          </p:cNvPr>
          <p:cNvSpPr txBox="1"/>
          <p:nvPr/>
        </p:nvSpPr>
        <p:spPr>
          <a:xfrm>
            <a:off x="2835565" y="358448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558F22C-CB90-0FD4-67D2-0C7BA0353D98}"/>
              </a:ext>
            </a:extLst>
          </p:cNvPr>
          <p:cNvSpPr txBox="1"/>
          <p:nvPr/>
        </p:nvSpPr>
        <p:spPr>
          <a:xfrm>
            <a:off x="2835565" y="322444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8605B42-E3A2-5B69-5AFF-F4CE67241150}"/>
              </a:ext>
            </a:extLst>
          </p:cNvPr>
          <p:cNvSpPr txBox="1"/>
          <p:nvPr/>
        </p:nvSpPr>
        <p:spPr>
          <a:xfrm>
            <a:off x="2835565" y="284555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025561-E058-F956-6CDE-312029E7941C}"/>
              </a:ext>
            </a:extLst>
          </p:cNvPr>
          <p:cNvSpPr txBox="1"/>
          <p:nvPr/>
        </p:nvSpPr>
        <p:spPr>
          <a:xfrm>
            <a:off x="2835565" y="248551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98E64E4-80BD-56CC-F4FC-7B2FE5EFD7B9}"/>
              </a:ext>
            </a:extLst>
          </p:cNvPr>
          <p:cNvSpPr txBox="1"/>
          <p:nvPr/>
        </p:nvSpPr>
        <p:spPr>
          <a:xfrm>
            <a:off x="2835565" y="212547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16F33F-ACA3-D3F2-E63E-2A6CF2C5CC76}"/>
              </a:ext>
            </a:extLst>
          </p:cNvPr>
          <p:cNvSpPr txBox="1"/>
          <p:nvPr/>
        </p:nvSpPr>
        <p:spPr>
          <a:xfrm>
            <a:off x="2835565" y="176543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4066E77-7F1F-DA91-084B-C150EDCC6542}"/>
              </a:ext>
            </a:extLst>
          </p:cNvPr>
          <p:cNvCxnSpPr/>
          <p:nvPr/>
        </p:nvCxnSpPr>
        <p:spPr>
          <a:xfrm>
            <a:off x="735291" y="4110087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58360B79-D75E-B732-8D10-F84F95DFC300}"/>
              </a:ext>
            </a:extLst>
          </p:cNvPr>
          <p:cNvCxnSpPr/>
          <p:nvPr/>
        </p:nvCxnSpPr>
        <p:spPr>
          <a:xfrm>
            <a:off x="3536623" y="1765435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401367F-1486-4F91-3F0E-6987A3E2EB27}"/>
              </a:ext>
            </a:extLst>
          </p:cNvPr>
          <p:cNvCxnSpPr/>
          <p:nvPr/>
        </p:nvCxnSpPr>
        <p:spPr>
          <a:xfrm>
            <a:off x="3536623" y="3953821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8DF20C9-35BE-A956-2AF5-586D1B548D88}"/>
              </a:ext>
            </a:extLst>
          </p:cNvPr>
          <p:cNvSpPr txBox="1"/>
          <p:nvPr/>
        </p:nvSpPr>
        <p:spPr>
          <a:xfrm>
            <a:off x="4355184" y="1564851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0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75F8B0-C875-8B42-ADC0-0DEF2D65CA79}"/>
              </a:ext>
            </a:extLst>
          </p:cNvPr>
          <p:cNvSpPr txBox="1"/>
          <p:nvPr/>
        </p:nvSpPr>
        <p:spPr>
          <a:xfrm>
            <a:off x="4355185" y="3740755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50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DFF2BB7-B851-6BB7-FF13-1DD936A9B1CE}"/>
              </a:ext>
            </a:extLst>
          </p:cNvPr>
          <p:cNvSpPr txBox="1"/>
          <p:nvPr/>
        </p:nvSpPr>
        <p:spPr>
          <a:xfrm>
            <a:off x="4355184" y="5149210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5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DB2C2C1-ECCA-70EC-513C-E498FC450A4A}"/>
              </a:ext>
            </a:extLst>
          </p:cNvPr>
          <p:cNvSpPr txBox="1"/>
          <p:nvPr/>
        </p:nvSpPr>
        <p:spPr>
          <a:xfrm>
            <a:off x="4355184" y="6193886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70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381975C-35CF-274B-2141-DB0C88C9A422}"/>
              </a:ext>
            </a:extLst>
          </p:cNvPr>
          <p:cNvCxnSpPr/>
          <p:nvPr/>
        </p:nvCxnSpPr>
        <p:spPr>
          <a:xfrm>
            <a:off x="3536623" y="5345261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D913A32-2247-8826-74B6-5CA709A1D3D1}"/>
              </a:ext>
            </a:extLst>
          </p:cNvPr>
          <p:cNvCxnSpPr/>
          <p:nvPr/>
        </p:nvCxnSpPr>
        <p:spPr>
          <a:xfrm>
            <a:off x="3536623" y="6421519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6E01099-3F0B-F46B-6471-8C0B17E0F529}"/>
              </a:ext>
            </a:extLst>
          </p:cNvPr>
          <p:cNvSpPr txBox="1"/>
          <p:nvPr/>
        </p:nvSpPr>
        <p:spPr>
          <a:xfrm>
            <a:off x="6457549" y="2106891"/>
            <a:ext cx="30442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A</a:t>
            </a:r>
            <a:r>
              <a:rPr lang="en-US" sz="24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B</a:t>
            </a:r>
            <a:r>
              <a:rPr lang="en-US" sz="24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C</a:t>
            </a:r>
            <a:r>
              <a:rPr lang="en-US" sz="24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D</a:t>
            </a:r>
          </a:p>
          <a:p>
            <a:r>
              <a:rPr lang="nl-BE" sz="24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4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endParaRPr lang="nl-BE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4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400" dirty="0">
                <a:solidFill>
                  <a:srgbClr val="000000"/>
                </a:solidFill>
                <a:latin typeface="Consolas" panose="020B0609020204030204" pitchFamily="49" charset="0"/>
              </a:rPr>
              <a:t> D </a:t>
            </a:r>
            <a:r>
              <a:rPr lang="nl-BE" sz="24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400" dirty="0">
                <a:solidFill>
                  <a:srgbClr val="000000"/>
                </a:solidFill>
                <a:latin typeface="Consolas" panose="020B0609020204030204" pitchFamily="49" charset="0"/>
              </a:rPr>
              <a:t> 130</a:t>
            </a:r>
            <a:r>
              <a:rPr lang="nl-BE" sz="24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2400" dirty="0"/>
          </a:p>
        </p:txBody>
      </p:sp>
      <p:sp>
        <p:nvSpPr>
          <p:cNvPr id="51" name="Multiplication Sign 50">
            <a:extLst>
              <a:ext uri="{FF2B5EF4-FFF2-40B4-BE49-F238E27FC236}">
                <a16:creationId xmlns:a16="http://schemas.microsoft.com/office/drawing/2014/main" id="{C15EEB5B-8086-27AE-0AED-8FC4C4C17146}"/>
              </a:ext>
            </a:extLst>
          </p:cNvPr>
          <p:cNvSpPr/>
          <p:nvPr/>
        </p:nvSpPr>
        <p:spPr>
          <a:xfrm>
            <a:off x="1176825" y="3409115"/>
            <a:ext cx="2151377" cy="3906558"/>
          </a:xfrm>
          <a:prstGeom prst="mathMultiply">
            <a:avLst/>
          </a:prstGeom>
          <a:solidFill>
            <a:srgbClr val="FF0000"/>
          </a:solidFill>
          <a:ln>
            <a:solidFill>
              <a:srgbClr val="FEB0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47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4" grpId="0"/>
      <p:bldP spid="45" grpId="0"/>
      <p:bldP spid="46" grpId="0"/>
      <p:bldP spid="51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45FFA7-9DF8-E7AE-8B21-E7A3AE5D7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segment eliminatio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4D572D-1DF8-43F5-D305-F8E866F1E1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21817"/>
            <a:ext cx="5261454" cy="28361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F306A4F-3F33-2BF6-9603-78431FF49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4855230"/>
            <a:ext cx="10942857" cy="96190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29CFE28-E199-2E4D-626A-BB407F21DE98}"/>
              </a:ext>
            </a:extLst>
          </p:cNvPr>
          <p:cNvSpPr/>
          <p:nvPr/>
        </p:nvSpPr>
        <p:spPr>
          <a:xfrm>
            <a:off x="1276895" y="5372066"/>
            <a:ext cx="3392382" cy="27540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16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7ED9CC-8A8C-03FC-D0A1-72BF01856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tch mode FTW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55B8D-55B3-20E6-6E2A-3A0E805354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cesses rows in batches of ~900 rows</a:t>
            </a:r>
          </a:p>
          <a:p>
            <a:r>
              <a:rPr lang="en-US" dirty="0"/>
              <a:t>Ideal for data warehousing scenarios</a:t>
            </a:r>
          </a:p>
          <a:p>
            <a:r>
              <a:rPr lang="en-US" dirty="0"/>
              <a:t>Since SQL Server 2019+ (and Azure SQL DB), also available for tables that don’t have a columnstore index</a:t>
            </a:r>
            <a:endParaRPr lang="nl-BE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8AEA4E0-B821-33EF-1CD7-7F25D97BF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6650" y="3700868"/>
            <a:ext cx="4838700" cy="203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4E2101E-85AF-A8DB-2DA1-D39ECE82C7CD}"/>
              </a:ext>
            </a:extLst>
          </p:cNvPr>
          <p:cNvSpPr/>
          <p:nvPr/>
        </p:nvSpPr>
        <p:spPr>
          <a:xfrm>
            <a:off x="4399808" y="5463815"/>
            <a:ext cx="4115541" cy="27540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437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D9D63A2-54E1-E5B0-7B8E-25AFF9CB1C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509B55B8-7416-7035-ED20-5E23822F0B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35275"/>
            <a:ext cx="5080312" cy="321340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7B39971-7B68-0934-F44D-FD3CAB2EDB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3384" y="4376098"/>
            <a:ext cx="7277731" cy="153175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1B1A18CC-B54D-39CE-9203-4F15B6E6344E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46BC7D9-9E07-4F35-19E5-1B5F9918E5DD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37F2F8E-1704-7AE2-6FD5-547B421D2EF7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04F35E95-29AF-E8D6-8C00-D74BACB814B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B0D5826A-D40E-A172-33BC-A29B3E8F21ED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</a:t>
                </a:r>
                <a:r>
                  <a:rPr lang="en-GB" sz="2500" b="1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Century Gothic"/>
                  </a:rPr>
                  <a:t>6</a:t>
                </a:r>
                <a:endParaRPr kumimoji="0" lang="en-GB" sz="2500" b="1" i="0" u="none" strike="noStrike" kern="1200" cap="none" spc="0" normalizeH="0" baseline="0" noProof="0" dirty="0">
                  <a:ln w="0"/>
                  <a:solidFill>
                    <a:prstClr val="white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6465248-6142-0747-627C-CCD162A0B3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4D1A3C32-6C02-8C74-0672-F28C28ED1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Columnstore index</a:t>
            </a:r>
            <a:endParaRPr lang="nl-BE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DE16AE-411F-3BD2-FB88-92A23BB2CAC2}"/>
              </a:ext>
            </a:extLst>
          </p:cNvPr>
          <p:cNvSpPr/>
          <p:nvPr/>
        </p:nvSpPr>
        <p:spPr>
          <a:xfrm>
            <a:off x="6883706" y="4500019"/>
            <a:ext cx="1279906" cy="19937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6AA060-ACD4-9CDF-0E1E-77AA02A9303F}"/>
              </a:ext>
            </a:extLst>
          </p:cNvPr>
          <p:cNvSpPr/>
          <p:nvPr/>
        </p:nvSpPr>
        <p:spPr>
          <a:xfrm>
            <a:off x="9344721" y="5295533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4D65AA-6F1A-1AA7-0C83-17948AFED9B4}"/>
              </a:ext>
            </a:extLst>
          </p:cNvPr>
          <p:cNvSpPr txBox="1"/>
          <p:nvPr/>
        </p:nvSpPr>
        <p:spPr>
          <a:xfrm>
            <a:off x="830980" y="1302393"/>
            <a:ext cx="70592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[City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Ke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Total Including Tax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act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_Big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[Order Date Key]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'2015-01-01'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Order Date Key]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&lt;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'2016-01-01'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[City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Ke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F395EE8-5C5C-5371-C414-43DCFBF3F2A0}"/>
              </a:ext>
            </a:extLst>
          </p:cNvPr>
          <p:cNvSpPr/>
          <p:nvPr/>
        </p:nvSpPr>
        <p:spPr>
          <a:xfrm>
            <a:off x="6349328" y="5535151"/>
            <a:ext cx="2191357" cy="2066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728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 animBg="1"/>
      <p:bldP spid="25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8D00A2-9535-2289-C836-EE95F75ED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er-known index typ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4ABD1E-E8E5-8E9B-EBF3-5072138D26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460624"/>
          </a:xfrm>
        </p:spPr>
        <p:txBody>
          <a:bodyPr/>
          <a:lstStyle/>
          <a:p>
            <a:r>
              <a:rPr lang="en-US" b="1" dirty="0"/>
              <a:t>XML index</a:t>
            </a:r>
          </a:p>
          <a:p>
            <a:pPr lvl="1"/>
            <a:r>
              <a:rPr lang="en-US" dirty="0"/>
              <a:t>primary and secondary index</a:t>
            </a:r>
          </a:p>
          <a:p>
            <a:pPr lvl="1"/>
            <a:r>
              <a:rPr lang="en-US" dirty="0"/>
              <a:t>on values, paths or properties</a:t>
            </a:r>
          </a:p>
          <a:p>
            <a:pPr lvl="1"/>
            <a:r>
              <a:rPr lang="en-US" dirty="0"/>
              <a:t>never encountered one in real-life</a:t>
            </a:r>
          </a:p>
          <a:p>
            <a:pPr lvl="1"/>
            <a:endParaRPr lang="en-US" dirty="0"/>
          </a:p>
          <a:p>
            <a:r>
              <a:rPr lang="en-US" b="1" dirty="0"/>
              <a:t>Spatial index</a:t>
            </a:r>
          </a:p>
          <a:p>
            <a:pPr lvl="1"/>
            <a:r>
              <a:rPr lang="en-US" dirty="0"/>
              <a:t>for either geometry or geography</a:t>
            </a:r>
          </a:p>
          <a:p>
            <a:pPr lvl="1"/>
            <a:r>
              <a:rPr lang="en-US" dirty="0"/>
              <a:t>quite complicated imo</a:t>
            </a:r>
          </a:p>
          <a:p>
            <a:pPr lvl="1"/>
            <a:r>
              <a:rPr lang="en-US" dirty="0"/>
              <a:t>also never seen one</a:t>
            </a:r>
          </a:p>
          <a:p>
            <a:pPr lvl="1"/>
            <a:endParaRPr lang="en-US" dirty="0"/>
          </a:p>
          <a:p>
            <a:r>
              <a:rPr lang="en-US" b="1" noProof="0" dirty="0"/>
              <a:t>Full-text index</a:t>
            </a:r>
          </a:p>
          <a:p>
            <a:pPr lvl="1"/>
            <a:r>
              <a:rPr lang="en-US" noProof="0" dirty="0"/>
              <a:t>only one per table, but up to 1024 columns</a:t>
            </a:r>
          </a:p>
          <a:p>
            <a:pPr lvl="1"/>
            <a:r>
              <a:rPr lang="en-US" noProof="0" dirty="0"/>
              <a:t>this technology is probably outdated</a:t>
            </a:r>
          </a:p>
          <a:p>
            <a:pPr lvl="1"/>
            <a:r>
              <a:rPr lang="en-US" noProof="0" dirty="0"/>
              <a:t>like the other two, I’ve only seen this on certification exam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21501E-A6FE-2C0A-1A75-0DB006DA4B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9462" y="1979874"/>
            <a:ext cx="6002538" cy="289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7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411535-B841-3419-D4D9-5F3497597A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49583-6D66-AFC4-E548-3225D269B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er-known index typ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3C78FC-9F6F-C621-87FD-62414C998D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460624"/>
          </a:xfrm>
        </p:spPr>
        <p:txBody>
          <a:bodyPr/>
          <a:lstStyle/>
          <a:p>
            <a:r>
              <a:rPr lang="en-US" b="1" dirty="0"/>
              <a:t>Hash index</a:t>
            </a:r>
          </a:p>
          <a:p>
            <a:pPr lvl="1"/>
            <a:r>
              <a:rPr lang="en-US" dirty="0"/>
              <a:t>every memory-optimized table needs at least one index</a:t>
            </a:r>
          </a:p>
          <a:p>
            <a:pPr lvl="2"/>
            <a:r>
              <a:rPr lang="en-US" dirty="0"/>
              <a:t>either hash or </a:t>
            </a:r>
            <a:r>
              <a:rPr lang="en-US" dirty="0" err="1"/>
              <a:t>nonclustered</a:t>
            </a:r>
            <a:endParaRPr lang="en-US" dirty="0"/>
          </a:p>
          <a:p>
            <a:pPr lvl="1"/>
            <a:r>
              <a:rPr lang="en-US" dirty="0"/>
              <a:t>array of pointers</a:t>
            </a:r>
          </a:p>
          <a:p>
            <a:pPr lvl="1"/>
            <a:r>
              <a:rPr lang="en-US" dirty="0"/>
              <a:t>database engine has one hash function</a:t>
            </a:r>
          </a:p>
          <a:p>
            <a:pPr lvl="1"/>
            <a:r>
              <a:rPr lang="en-US" dirty="0"/>
              <a:t>needs a bucket count</a:t>
            </a:r>
          </a:p>
          <a:p>
            <a:pPr lvl="1"/>
            <a:r>
              <a:rPr lang="en-US" dirty="0"/>
              <a:t>defined using ALTER TABLE</a:t>
            </a:r>
          </a:p>
          <a:p>
            <a:pPr lvl="1"/>
            <a:endParaRPr lang="en-US" dirty="0"/>
          </a:p>
        </p:txBody>
      </p:sp>
      <p:pic>
        <p:nvPicPr>
          <p:cNvPr id="2050" name="Picture 2" descr="Diagram showing interaction between hash index and buckets.">
            <a:extLst>
              <a:ext uri="{FF2B5EF4-FFF2-40B4-BE49-F238E27FC236}">
                <a16:creationId xmlns:a16="http://schemas.microsoft.com/office/drawing/2014/main" id="{04280C31-DAA3-74B1-6BD5-467FF20BA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4319" y="4067489"/>
            <a:ext cx="3838575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4CF098A-4B61-6BEC-E2A9-495EDAB1C57A}"/>
              </a:ext>
            </a:extLst>
          </p:cNvPr>
          <p:cNvSpPr txBox="1"/>
          <p:nvPr/>
        </p:nvSpPr>
        <p:spPr>
          <a:xfrm>
            <a:off x="838200" y="4367690"/>
            <a:ext cx="620599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_MemoryOptimizedTab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D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hash_myColumn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HAS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UCKET_COU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64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9181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224CF-214E-9679-2F54-442394956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ew kid on the block: JSON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4D1CB4-3C20-2B83-EF12-353F6B2FA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QL Server 2025 introduces the </a:t>
            </a:r>
            <a:r>
              <a:rPr lang="en-US" b="1" dirty="0"/>
              <a:t>JSON data type</a:t>
            </a:r>
          </a:p>
          <a:p>
            <a:pPr lvl="1"/>
            <a:r>
              <a:rPr lang="en-US" dirty="0"/>
              <a:t>which already exists in Azure SQL DB/MI and Fabric SQL DB</a:t>
            </a:r>
          </a:p>
          <a:p>
            <a:r>
              <a:rPr lang="en-US" dirty="0"/>
              <a:t>… but getting the index to work can be tricky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9BF2BE-03A0-02A5-543B-7B9CA7D3D7ED}"/>
              </a:ext>
            </a:extLst>
          </p:cNvPr>
          <p:cNvSpPr txBox="1"/>
          <p:nvPr/>
        </p:nvSpPr>
        <p:spPr>
          <a:xfrm>
            <a:off x="1902619" y="2941282"/>
            <a:ext cx="484108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x_json</a:t>
            </a:r>
            <a:br>
              <a:rPr lang="nl-BE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</a:b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Test_Index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Data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br>
              <a:rPr lang="nl-BE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</a:b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R 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8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.FirstName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3A5189-703F-58CB-0C0F-696C5B9E1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2619" y="4503635"/>
            <a:ext cx="8895212" cy="154473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1045B3A-244C-AFDB-7542-40E0C7AFC5BB}"/>
              </a:ext>
            </a:extLst>
          </p:cNvPr>
          <p:cNvSpPr/>
          <p:nvPr/>
        </p:nvSpPr>
        <p:spPr>
          <a:xfrm>
            <a:off x="7557924" y="4891540"/>
            <a:ext cx="2290926" cy="11568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41B7B7-FF4C-D9EC-79AB-EDBE2E9498E7}"/>
              </a:ext>
            </a:extLst>
          </p:cNvPr>
          <p:cNvSpPr txBox="1"/>
          <p:nvPr/>
        </p:nvSpPr>
        <p:spPr>
          <a:xfrm>
            <a:off x="7444143" y="3721422"/>
            <a:ext cx="41652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t the index we’re looking for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50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17D31B-F838-CE4B-1758-A8416EEF1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es are …</a:t>
            </a:r>
            <a:endParaRPr lang="nl-BE" dirty="0"/>
          </a:p>
        </p:txBody>
      </p:sp>
      <p:pic>
        <p:nvPicPr>
          <p:cNvPr id="6" name="Picture 2" descr="index Archives - A Shot of SQLEspresso">
            <a:extLst>
              <a:ext uri="{FF2B5EF4-FFF2-40B4-BE49-F238E27FC236}">
                <a16:creationId xmlns:a16="http://schemas.microsoft.com/office/drawing/2014/main" id="{9326031F-D490-917A-6AF0-341C1AAAC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5339" y="1457011"/>
            <a:ext cx="5281321" cy="522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437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80E8E2C-7DC2-CF07-7292-E755712410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0042" y="4214813"/>
            <a:ext cx="7991916" cy="25541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837E0A1-42D0-4F67-9906-2C2F3A5BD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SON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CDCACD-EF53-C558-6B5A-E5937FB26A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From Daniel Hutmacher’s blog post </a:t>
            </a:r>
            <a:r>
              <a:rPr lang="en-US" dirty="0">
                <a:hlinkClick r:id="rId3"/>
              </a:rPr>
              <a:t>JSON indexes in SQL Server: First Impressions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CA4E8-94F0-01AF-7671-1CD0F883712D}"/>
              </a:ext>
            </a:extLst>
          </p:cNvPr>
          <p:cNvSpPr txBox="1"/>
          <p:nvPr/>
        </p:nvSpPr>
        <p:spPr>
          <a:xfrm>
            <a:off x="838200" y="1969794"/>
            <a:ext cx="620910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DEX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IX_JSON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hicago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uildings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blob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R 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Name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Addresses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endParaRPr lang="nl-BE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ITH 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_COMPRESSION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GE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;</a:t>
            </a:r>
            <a:endParaRPr lang="nl-BE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94C257-2665-0155-70A5-329210799E11}"/>
              </a:ext>
            </a:extLst>
          </p:cNvPr>
          <p:cNvSpPr txBox="1"/>
          <p:nvPr/>
        </p:nvSpPr>
        <p:spPr>
          <a:xfrm>
            <a:off x="838199" y="3040259"/>
            <a:ext cx="942082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UNT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endParaRPr lang="nl-BE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hicago</a:t>
            </a:r>
            <a:r>
              <a:rPr lang="nl-BE" sz="16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nl-BE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uildings</a:t>
            </a:r>
            <a:endParaRPr lang="nl-BE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CONTAINS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blob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S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a 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alle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t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Name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=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CONTAINS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blob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09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en-US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Addresses</a:t>
            </a:r>
            <a:r>
              <a:rPr lang="en-US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*]'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nl-BE" sz="16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A3895-EABE-24BB-C128-69DF4677F56E}"/>
              </a:ext>
            </a:extLst>
          </p:cNvPr>
          <p:cNvSpPr/>
          <p:nvPr/>
        </p:nvSpPr>
        <p:spPr>
          <a:xfrm>
            <a:off x="6096000" y="4475747"/>
            <a:ext cx="2602832" cy="3215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0F2B9D-B628-8162-1340-9ED52929FD94}"/>
              </a:ext>
            </a:extLst>
          </p:cNvPr>
          <p:cNvSpPr/>
          <p:nvPr/>
        </p:nvSpPr>
        <p:spPr>
          <a:xfrm>
            <a:off x="7800474" y="5700725"/>
            <a:ext cx="2602832" cy="3215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0D613C9-0EE6-620D-17D0-3482F9DE9FC5}"/>
              </a:ext>
            </a:extLst>
          </p:cNvPr>
          <p:cNvSpPr/>
          <p:nvPr/>
        </p:nvSpPr>
        <p:spPr>
          <a:xfrm>
            <a:off x="2100042" y="5700725"/>
            <a:ext cx="2602832" cy="3215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88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13858C9-FAE4-F6C3-F072-688BB23AA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1DA415F-20F8-E2B7-D8F3-8F08D92C90EA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72D9F87-4D21-DEDA-D4AA-FBD0406E5841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FA848D0-5003-2367-ABDC-0F7F3DEBF2FA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C6D6E4F-6A25-C6B5-0C42-838268B339F7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6A3F37F-4D2E-037E-F2CF-7157E315FD96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7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D4596291-3DE0-1D41-5935-76965DB885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BF0EF79-18CD-F301-24E0-E71A3177C3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471995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y JSON_CONTAINS instead of JSON_VALUE</a:t>
            </a:r>
            <a:endParaRPr lang="nl-BE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7462B4A-07A7-FEE4-7F88-A31B3F48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JSON index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8D0F0D-96FC-1BAD-62A9-2EDB1366A208}"/>
              </a:ext>
            </a:extLst>
          </p:cNvPr>
          <p:cNvSpPr txBox="1"/>
          <p:nvPr/>
        </p:nvSpPr>
        <p:spPr>
          <a:xfrm>
            <a:off x="838200" y="2136883"/>
            <a:ext cx="869883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  <a:endParaRPr lang="nl-BE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Test_Index</a:t>
            </a:r>
            <a:endParaRPr lang="nl-BE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CONTAINS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Data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David'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8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.FirstName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EEE35E-23E5-AB53-1F31-1EC1FCB813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3428999"/>
            <a:ext cx="5228204" cy="26589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5925C47-1A30-408E-8D18-EB9A390443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5113" y="3428999"/>
            <a:ext cx="5405661" cy="240631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5BF7822-5648-A15E-2540-308646BE3C7D}"/>
              </a:ext>
            </a:extLst>
          </p:cNvPr>
          <p:cNvSpPr/>
          <p:nvPr/>
        </p:nvSpPr>
        <p:spPr>
          <a:xfrm>
            <a:off x="8552250" y="3604473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FB259-E86D-7D3C-B28E-DB73393EB8E4}"/>
              </a:ext>
            </a:extLst>
          </p:cNvPr>
          <p:cNvSpPr/>
          <p:nvPr/>
        </p:nvSpPr>
        <p:spPr>
          <a:xfrm>
            <a:off x="8909188" y="4538920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04F776-900E-4D3F-86DB-3E8A1D776346}"/>
              </a:ext>
            </a:extLst>
          </p:cNvPr>
          <p:cNvSpPr/>
          <p:nvPr/>
        </p:nvSpPr>
        <p:spPr>
          <a:xfrm>
            <a:off x="8893142" y="5316954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768D49F-90F0-539B-A311-7AE240E3F85E}"/>
              </a:ext>
            </a:extLst>
          </p:cNvPr>
          <p:cNvSpPr/>
          <p:nvPr/>
        </p:nvSpPr>
        <p:spPr>
          <a:xfrm>
            <a:off x="9767434" y="5601692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7927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3" grpId="0" animBg="1"/>
      <p:bldP spid="18" grpId="0" animBg="1"/>
      <p:bldP spid="19" grpId="0" animBg="1"/>
      <p:bldP spid="20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1C15D-AC79-57F1-7F6E-0CBF2A231C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DD474B-5054-C3B1-BCA4-8003AACFB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6369892" cy="190310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ndexes in Other Engines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57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1EB8610-9321-7150-D29B-E57575A96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the indexes we’ve seen so far…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1982E32-FB2D-B044-3F65-4585D7FF45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… are available in the latest editions of SQL Server</a:t>
            </a:r>
          </a:p>
          <a:p>
            <a:pPr lvl="1"/>
            <a:r>
              <a:rPr lang="en-US" dirty="0"/>
              <a:t>except for the JSON index which is only available in SQL Server 2025</a:t>
            </a:r>
          </a:p>
          <a:p>
            <a:pPr lvl="1"/>
            <a:endParaRPr lang="en-US" dirty="0"/>
          </a:p>
          <a:p>
            <a:r>
              <a:rPr lang="en-US" dirty="0"/>
              <a:t>all of them (except JSON) are also available in the following products:</a:t>
            </a:r>
          </a:p>
          <a:p>
            <a:pPr lvl="1"/>
            <a:r>
              <a:rPr lang="en-US" dirty="0"/>
              <a:t>Azure SQL Database</a:t>
            </a:r>
          </a:p>
          <a:p>
            <a:pPr lvl="1"/>
            <a:r>
              <a:rPr lang="en-US" dirty="0"/>
              <a:t>Azure SQL Managed Instance</a:t>
            </a:r>
          </a:p>
          <a:p>
            <a:pPr lvl="1"/>
            <a:r>
              <a:rPr lang="en-US" dirty="0"/>
              <a:t>Fabric SQL Databa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0832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C6E27-4486-BA50-2F1B-121104BE9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apse Dedicated SQL Pool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3D0FB4-CD75-13EC-D25C-10327271E0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By default, clustered columnstore index</a:t>
            </a:r>
          </a:p>
          <a:p>
            <a:r>
              <a:rPr lang="en-US" dirty="0"/>
              <a:t>If you want a heap, you need to explicitly specify i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Likewise, for (non)clustered (</a:t>
            </a:r>
            <a:r>
              <a:rPr lang="en-US" dirty="0" err="1"/>
              <a:t>rowstore</a:t>
            </a:r>
            <a:r>
              <a:rPr lang="en-US" dirty="0"/>
              <a:t>) index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37C6DC-9459-549E-9DD1-9F40AF5FD674}"/>
              </a:ext>
            </a:extLst>
          </p:cNvPr>
          <p:cNvSpPr txBox="1"/>
          <p:nvPr/>
        </p:nvSpPr>
        <p:spPr>
          <a:xfrm>
            <a:off x="1913021" y="2419491"/>
            <a:ext cx="620829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VARCH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20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HEAP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9C4FCB-24E8-079F-953E-B68F0C1EF6F7}"/>
              </a:ext>
            </a:extLst>
          </p:cNvPr>
          <p:cNvSpPr txBox="1"/>
          <p:nvPr/>
        </p:nvSpPr>
        <p:spPr>
          <a:xfrm>
            <a:off x="1913021" y="4533038"/>
            <a:ext cx="620829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VARCH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20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7543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3F1FD-894E-1007-E619-62272591A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F8BA4-396A-BD32-6194-5C67965B3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icated SQL Pool - Distribu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F34895-42C8-E05F-FC40-BBFD0F023E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b="1" dirty="0"/>
              <a:t>By default, clustered columnstore index</a:t>
            </a:r>
          </a:p>
          <a:p>
            <a:r>
              <a:rPr lang="en-US" dirty="0"/>
              <a:t>But data is also </a:t>
            </a:r>
            <a:r>
              <a:rPr lang="en-US" b="1" dirty="0"/>
              <a:t>distributed over compute nodes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Dedicated SQL Pool architecture</a:t>
            </a:r>
            <a:endParaRPr lang="en-US" dirty="0"/>
          </a:p>
        </p:txBody>
      </p:sp>
      <p:pic>
        <p:nvPicPr>
          <p:cNvPr id="4098" name="Picture 2" descr="Dedicated SQL pool (formerly SQL DW) architecture">
            <a:extLst>
              <a:ext uri="{FF2B5EF4-FFF2-40B4-BE49-F238E27FC236}">
                <a16:creationId xmlns:a16="http://schemas.microsoft.com/office/drawing/2014/main" id="{2AE01F9F-A531-95A9-5822-3DB132659B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0" y="2512348"/>
            <a:ext cx="4191000" cy="322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435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C7D28C-78A3-A990-EAE9-552E57C4A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223B8-9E95-C41A-E5B5-5EAC19DEC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icated SQL Pool - Distribu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2D93C9-4D7E-54C0-F07D-BCE90623E1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dirty="0"/>
              <a:t>There are 3 possible distributions:</a:t>
            </a:r>
          </a:p>
          <a:p>
            <a:pPr lvl="1"/>
            <a:r>
              <a:rPr lang="en-US" dirty="0"/>
              <a:t>round-robin (default)</a:t>
            </a:r>
          </a:p>
          <a:p>
            <a:pPr lvl="1"/>
            <a:r>
              <a:rPr lang="en-US" dirty="0"/>
              <a:t>hash (ideal for facts)</a:t>
            </a:r>
          </a:p>
          <a:p>
            <a:pPr lvl="1"/>
            <a:r>
              <a:rPr lang="en-US" dirty="0"/>
              <a:t>replicate (ideal for dimensions)</a:t>
            </a:r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Dedicated SQL Pool architecture</a:t>
            </a:r>
            <a:endParaRPr lang="en-US" dirty="0"/>
          </a:p>
        </p:txBody>
      </p:sp>
      <p:pic>
        <p:nvPicPr>
          <p:cNvPr id="5122" name="Picture 2" descr="Diagram of a distributed table.">
            <a:extLst>
              <a:ext uri="{FF2B5EF4-FFF2-40B4-BE49-F238E27FC236}">
                <a16:creationId xmlns:a16="http://schemas.microsoft.com/office/drawing/2014/main" id="{FD522DE4-D605-FCE1-443A-153793EE44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457010"/>
            <a:ext cx="4178968" cy="2546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Replicated table">
            <a:extLst>
              <a:ext uri="{FF2B5EF4-FFF2-40B4-BE49-F238E27FC236}">
                <a16:creationId xmlns:a16="http://schemas.microsoft.com/office/drawing/2014/main" id="{3A30D094-0A4E-6D73-DC47-A1587502C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043" y="4152899"/>
            <a:ext cx="3971925" cy="270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0D0BD73-CECB-CC7B-DC2F-974861743358}"/>
              </a:ext>
            </a:extLst>
          </p:cNvPr>
          <p:cNvSpPr txBox="1"/>
          <p:nvPr/>
        </p:nvSpPr>
        <p:spPr>
          <a:xfrm>
            <a:off x="1311441" y="3670909"/>
            <a:ext cx="620829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VARCH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20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ISTRIBUTIO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HASH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);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349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88DCD-53FE-B03E-F5E4-2FF72B22B0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icated SQL Pool - Constraint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6BE975-2117-6E8A-6570-9E6E9FC2C7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</a:t>
            </a:r>
            <a:r>
              <a:rPr lang="en-US" b="1" dirty="0"/>
              <a:t>no primary, foreign or unique keys</a:t>
            </a:r>
          </a:p>
          <a:p>
            <a:pPr lvl="1"/>
            <a:r>
              <a:rPr lang="en-US" dirty="0"/>
              <a:t>well, you can create them, but they’re not enforce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is is actually quite common in</a:t>
            </a:r>
            <a:br>
              <a:rPr lang="en-US" dirty="0"/>
            </a:br>
            <a:r>
              <a:rPr lang="en-US" dirty="0"/>
              <a:t>cloud distributed data warehouses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AADCC4-613C-5392-5CE8-37C1E97FA57C}"/>
              </a:ext>
            </a:extLst>
          </p:cNvPr>
          <p:cNvSpPr txBox="1"/>
          <p:nvPr/>
        </p:nvSpPr>
        <p:spPr>
          <a:xfrm>
            <a:off x="1275346" y="2505670"/>
            <a:ext cx="831382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D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ONSTRAI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K_myTable</a:t>
            </a:r>
            <a:b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PRIMAR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KE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ENFORCED</a:t>
            </a:r>
            <a:endParaRPr lang="nl-BE" dirty="0"/>
          </a:p>
        </p:txBody>
      </p:sp>
      <p:pic>
        <p:nvPicPr>
          <p:cNvPr id="3074" name="Picture 2" descr="a man in a black sweater is making a funny face while holding his hands together and saying ew .">
            <a:extLst>
              <a:ext uri="{FF2B5EF4-FFF2-40B4-BE49-F238E27FC236}">
                <a16:creationId xmlns:a16="http://schemas.microsoft.com/office/drawing/2014/main" id="{0BFC3DED-0DC4-B627-3AC3-34666DC55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8255" y="2610853"/>
            <a:ext cx="3373040" cy="337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269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E535A-677A-466D-4264-46CF2ED26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bric Warehouse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66A13-4114-62DA-FFEB-C578F63FC4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ta is stored as </a:t>
            </a:r>
            <a:r>
              <a:rPr lang="en-US" b="1" dirty="0"/>
              <a:t>Parquet</a:t>
            </a:r>
            <a:r>
              <a:rPr lang="en-US" dirty="0"/>
              <a:t> files using the delta transaction layer</a:t>
            </a:r>
          </a:p>
          <a:p>
            <a:endParaRPr lang="nl-BE" b="1" dirty="0"/>
          </a:p>
          <a:p>
            <a:r>
              <a:rPr lang="nl-BE" b="1" dirty="0" err="1"/>
              <a:t>There</a:t>
            </a:r>
            <a:r>
              <a:rPr lang="nl-BE" b="1" dirty="0"/>
              <a:t> are no </a:t>
            </a:r>
            <a:r>
              <a:rPr lang="nl-BE" b="1" dirty="0" err="1"/>
              <a:t>indexes</a:t>
            </a:r>
            <a:endParaRPr lang="nl-BE" b="1" dirty="0"/>
          </a:p>
          <a:p>
            <a:endParaRPr lang="nl-BE" dirty="0"/>
          </a:p>
          <a:p>
            <a:r>
              <a:rPr lang="nl-BE" dirty="0" err="1"/>
              <a:t>Due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nature of </a:t>
            </a:r>
            <a:r>
              <a:rPr lang="nl-BE" dirty="0" err="1"/>
              <a:t>Parquet</a:t>
            </a:r>
            <a:r>
              <a:rPr lang="nl-BE" dirty="0"/>
              <a:t>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its</a:t>
            </a:r>
            <a:r>
              <a:rPr lang="nl-BE" dirty="0"/>
              <a:t> </a:t>
            </a:r>
            <a:r>
              <a:rPr lang="nl-BE" dirty="0" err="1"/>
              <a:t>compression</a:t>
            </a:r>
            <a:r>
              <a:rPr lang="nl-BE" dirty="0"/>
              <a:t>, </a:t>
            </a:r>
            <a:r>
              <a:rPr lang="nl-BE" dirty="0" err="1"/>
              <a:t>it’s</a:t>
            </a:r>
            <a:r>
              <a:rPr lang="nl-BE" dirty="0"/>
              <a:t> </a:t>
            </a:r>
            <a:r>
              <a:rPr lang="nl-BE" dirty="0" err="1"/>
              <a:t>similar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having</a:t>
            </a:r>
            <a:r>
              <a:rPr lang="nl-BE" dirty="0"/>
              <a:t> a </a:t>
            </a:r>
            <a:r>
              <a:rPr lang="nl-BE" dirty="0" err="1"/>
              <a:t>clustered</a:t>
            </a:r>
            <a:r>
              <a:rPr lang="nl-BE" dirty="0"/>
              <a:t> columnstore index</a:t>
            </a:r>
          </a:p>
          <a:p>
            <a:endParaRPr lang="nl-BE" dirty="0"/>
          </a:p>
          <a:p>
            <a:r>
              <a:rPr lang="nl-BE" dirty="0" err="1"/>
              <a:t>You</a:t>
            </a:r>
            <a:r>
              <a:rPr lang="nl-BE" dirty="0"/>
              <a:t> </a:t>
            </a:r>
            <a:r>
              <a:rPr lang="nl-BE" dirty="0" err="1"/>
              <a:t>can</a:t>
            </a:r>
            <a:r>
              <a:rPr lang="nl-BE" dirty="0"/>
              <a:t> </a:t>
            </a:r>
            <a:r>
              <a:rPr lang="nl-BE" dirty="0" err="1"/>
              <a:t>create</a:t>
            </a:r>
            <a:r>
              <a:rPr lang="nl-BE" dirty="0"/>
              <a:t> </a:t>
            </a:r>
            <a:r>
              <a:rPr lang="nl-BE" dirty="0" err="1"/>
              <a:t>constraints</a:t>
            </a:r>
            <a:r>
              <a:rPr lang="nl-BE" dirty="0"/>
              <a:t> but </a:t>
            </a:r>
            <a:r>
              <a:rPr lang="nl-BE" dirty="0" err="1"/>
              <a:t>they’re</a:t>
            </a:r>
            <a:r>
              <a:rPr lang="nl-BE" dirty="0"/>
              <a:t> </a:t>
            </a:r>
            <a:r>
              <a:rPr lang="nl-BE" dirty="0" err="1"/>
              <a:t>not</a:t>
            </a:r>
            <a:r>
              <a:rPr lang="nl-BE" dirty="0"/>
              <a:t> </a:t>
            </a:r>
            <a:r>
              <a:rPr lang="nl-BE" dirty="0" err="1"/>
              <a:t>enforced</a:t>
            </a:r>
            <a:r>
              <a:rPr lang="nl-BE" dirty="0"/>
              <a:t>, like in </a:t>
            </a:r>
            <a:r>
              <a:rPr lang="nl-BE" dirty="0" err="1"/>
              <a:t>Dedicated</a:t>
            </a:r>
            <a:r>
              <a:rPr lang="nl-BE" dirty="0"/>
              <a:t> SQL Pool</a:t>
            </a:r>
          </a:p>
          <a:p>
            <a:r>
              <a:rPr lang="nl-BE" dirty="0"/>
              <a:t>Shift in </a:t>
            </a:r>
            <a:r>
              <a:rPr lang="nl-BE" dirty="0" err="1"/>
              <a:t>mentality</a:t>
            </a:r>
            <a:r>
              <a:rPr lang="nl-BE" dirty="0"/>
              <a:t> on </a:t>
            </a:r>
            <a:r>
              <a:rPr lang="nl-BE" dirty="0" err="1"/>
              <a:t>how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improve</a:t>
            </a:r>
            <a:r>
              <a:rPr lang="nl-BE" dirty="0"/>
              <a:t> performance</a:t>
            </a:r>
          </a:p>
          <a:p>
            <a:pPr lvl="1"/>
            <a:r>
              <a:rPr lang="en-US" dirty="0">
                <a:hlinkClick r:id="rId2"/>
              </a:rPr>
              <a:t>Performance guidelines in Fabric Data Warehouse</a:t>
            </a:r>
            <a:endParaRPr lang="nl-BE" dirty="0"/>
          </a:p>
        </p:txBody>
      </p:sp>
      <p:pic>
        <p:nvPicPr>
          <p:cNvPr id="6146" name="Picture 2" descr="Microsoft Fabric documentation - Microsoft Fabric | Microsoft Learn">
            <a:extLst>
              <a:ext uri="{FF2B5EF4-FFF2-40B4-BE49-F238E27FC236}">
                <a16:creationId xmlns:a16="http://schemas.microsoft.com/office/drawing/2014/main" id="{EE5E2FAA-C079-1D8B-6142-C3FA4A4FD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873" y="1289981"/>
            <a:ext cx="1640305" cy="1643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87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A5435C-2B4B-946B-48C9-6C2DAA621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DD8B16-7864-932D-4D0F-AA4C209ED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e </a:t>
            </a:r>
            <a:r>
              <a:rPr lang="en-US" b="1" dirty="0"/>
              <a:t>NoSQL API</a:t>
            </a:r>
            <a:r>
              <a:rPr lang="en-US" dirty="0"/>
              <a:t>, you can also create a “JSON index” through an </a:t>
            </a:r>
            <a:r>
              <a:rPr lang="en-US" b="1" dirty="0"/>
              <a:t>indexing policy</a:t>
            </a:r>
            <a:endParaRPr lang="nl-BE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E2A580-E875-6D61-3647-90EC175E73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1559" y="2173487"/>
            <a:ext cx="5905753" cy="4170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993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Car Racing photo and picture">
            <a:extLst>
              <a:ext uri="{FF2B5EF4-FFF2-40B4-BE49-F238E27FC236}">
                <a16:creationId xmlns:a16="http://schemas.microsoft.com/office/drawing/2014/main" id="{8188F434-97FD-D585-6143-E4E4408BF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8124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99BB81-FA5B-9B28-0F71-28B5C1575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890E"/>
                </a:solidFill>
              </a:rPr>
              <a:t>they make stuff go faster in your database</a:t>
            </a:r>
            <a:endParaRPr lang="nl-BE" sz="3600" dirty="0">
              <a:solidFill>
                <a:srgbClr val="FF890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9C1264-644C-91DA-C329-FB67D9CF643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39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DCCB91-B766-08C2-4575-0B2B364F5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AA8451-604A-7F85-4B83-057AAAB308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6369892" cy="190310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aintenance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84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9AED1D-FFBB-8248-9D01-6D49081611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226B6A2-343C-C3EA-A6EB-C3119E070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Fragmenta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9EAA1-26F3-40EC-6983-939332AC76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497242"/>
          </a:xfrm>
        </p:spPr>
        <p:txBody>
          <a:bodyPr>
            <a:normAutofit/>
          </a:bodyPr>
          <a:lstStyle/>
          <a:p>
            <a:r>
              <a:rPr lang="en-US" dirty="0"/>
              <a:t>Indexes become </a:t>
            </a:r>
            <a:r>
              <a:rPr lang="en-US" b="1" dirty="0"/>
              <a:t>fragmented</a:t>
            </a:r>
            <a:r>
              <a:rPr lang="en-US" dirty="0"/>
              <a:t> over time due to inserts, updates and deletes</a:t>
            </a:r>
          </a:p>
          <a:p>
            <a:r>
              <a:rPr lang="nl-BE" dirty="0" err="1"/>
              <a:t>Fragmentation</a:t>
            </a:r>
            <a:r>
              <a:rPr lang="nl-BE" dirty="0"/>
              <a:t> </a:t>
            </a:r>
            <a:r>
              <a:rPr lang="nl-BE" dirty="0" err="1"/>
              <a:t>can</a:t>
            </a:r>
            <a:r>
              <a:rPr lang="nl-BE" dirty="0"/>
              <a:t> </a:t>
            </a:r>
            <a:r>
              <a:rPr lang="nl-BE" dirty="0" err="1"/>
              <a:t>be</a:t>
            </a:r>
            <a:r>
              <a:rPr lang="nl-BE" dirty="0"/>
              <a:t> </a:t>
            </a:r>
            <a:r>
              <a:rPr lang="nl-BE" dirty="0" err="1"/>
              <a:t>resolved</a:t>
            </a:r>
            <a:r>
              <a:rPr lang="nl-BE" dirty="0"/>
              <a:t> </a:t>
            </a:r>
            <a:r>
              <a:rPr lang="nl-BE" dirty="0" err="1"/>
              <a:t>with</a:t>
            </a:r>
            <a:br>
              <a:rPr lang="nl-BE" dirty="0"/>
            </a:br>
            <a:endParaRPr lang="nl-BE" dirty="0"/>
          </a:p>
          <a:p>
            <a:pPr lvl="1"/>
            <a:r>
              <a:rPr lang="nl-BE" b="1" dirty="0"/>
              <a:t>REORGANIZE</a:t>
            </a:r>
            <a:r>
              <a:rPr lang="nl-BE" dirty="0"/>
              <a:t> - </a:t>
            </a:r>
            <a:r>
              <a:rPr lang="nl-BE" dirty="0" err="1"/>
              <a:t>defragments</a:t>
            </a:r>
            <a:r>
              <a:rPr lang="nl-BE" dirty="0"/>
              <a:t> </a:t>
            </a:r>
            <a:r>
              <a:rPr lang="nl-BE" dirty="0" err="1"/>
              <a:t>leaf</a:t>
            </a:r>
            <a:r>
              <a:rPr lang="nl-BE" dirty="0"/>
              <a:t> level of </a:t>
            </a:r>
            <a:r>
              <a:rPr lang="nl-BE" dirty="0" err="1"/>
              <a:t>the</a:t>
            </a:r>
            <a:r>
              <a:rPr lang="nl-BE" dirty="0"/>
              <a:t> index</a:t>
            </a:r>
          </a:p>
          <a:p>
            <a:pPr lvl="1"/>
            <a:endParaRPr lang="nl-BE" dirty="0"/>
          </a:p>
          <a:p>
            <a:pPr lvl="1"/>
            <a:endParaRPr lang="nl-BE" dirty="0"/>
          </a:p>
          <a:p>
            <a:pPr lvl="1"/>
            <a:endParaRPr lang="nl-BE" b="1" dirty="0"/>
          </a:p>
          <a:p>
            <a:pPr lvl="1"/>
            <a:r>
              <a:rPr lang="nl-BE" b="1" dirty="0"/>
              <a:t>REBUILD</a:t>
            </a:r>
            <a:r>
              <a:rPr lang="nl-BE" dirty="0"/>
              <a:t> - </a:t>
            </a:r>
            <a:r>
              <a:rPr lang="nl-BE" dirty="0" err="1"/>
              <a:t>drops</a:t>
            </a:r>
            <a:r>
              <a:rPr lang="nl-BE" dirty="0"/>
              <a:t>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recreates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index</a:t>
            </a:r>
          </a:p>
          <a:p>
            <a:endParaRPr lang="nl-BE" dirty="0"/>
          </a:p>
          <a:p>
            <a:endParaRPr lang="nl-BE" dirty="0"/>
          </a:p>
          <a:p>
            <a:endParaRPr lang="nl-BE" dirty="0"/>
          </a:p>
          <a:p>
            <a:r>
              <a:rPr lang="nl-BE" dirty="0"/>
              <a:t>FILLFACTOR - index option </a:t>
            </a:r>
            <a:r>
              <a:rPr lang="nl-BE" dirty="0" err="1"/>
              <a:t>that</a:t>
            </a:r>
            <a:r>
              <a:rPr lang="nl-BE" dirty="0"/>
              <a:t> </a:t>
            </a:r>
            <a:r>
              <a:rPr lang="nl-BE" dirty="0" err="1"/>
              <a:t>specifies</a:t>
            </a:r>
            <a:r>
              <a:rPr lang="nl-BE" dirty="0"/>
              <a:t> </a:t>
            </a:r>
            <a:r>
              <a:rPr lang="nl-BE" dirty="0" err="1"/>
              <a:t>how</a:t>
            </a:r>
            <a:r>
              <a:rPr lang="nl-BE" dirty="0"/>
              <a:t> </a:t>
            </a:r>
            <a:r>
              <a:rPr lang="nl-BE" dirty="0" err="1"/>
              <a:t>much</a:t>
            </a:r>
            <a:r>
              <a:rPr lang="nl-BE" dirty="0"/>
              <a:t> </a:t>
            </a:r>
            <a:r>
              <a:rPr lang="nl-BE" dirty="0" err="1"/>
              <a:t>space</a:t>
            </a:r>
            <a:r>
              <a:rPr lang="nl-BE" dirty="0"/>
              <a:t> in a </a:t>
            </a:r>
            <a:r>
              <a:rPr lang="nl-BE" dirty="0" err="1"/>
              <a:t>leaf</a:t>
            </a:r>
            <a:r>
              <a:rPr lang="nl-BE" dirty="0"/>
              <a:t> index page </a:t>
            </a:r>
            <a:r>
              <a:rPr lang="nl-BE" dirty="0" err="1"/>
              <a:t>should</a:t>
            </a:r>
            <a:r>
              <a:rPr lang="nl-BE" dirty="0"/>
              <a:t> </a:t>
            </a:r>
            <a:r>
              <a:rPr lang="nl-BE" dirty="0" err="1"/>
              <a:t>be</a:t>
            </a:r>
            <a:r>
              <a:rPr lang="nl-BE" dirty="0"/>
              <a:t> taken</a:t>
            </a:r>
            <a:br>
              <a:rPr lang="nl-BE" dirty="0"/>
            </a:br>
            <a:r>
              <a:rPr lang="nl-BE" dirty="0"/>
              <a:t>e.g. 80% </a:t>
            </a:r>
            <a:r>
              <a:rPr lang="nl-BE" dirty="0">
                <a:sym typeface="Wingdings" panose="05000000000000000000" pitchFamily="2" charset="2"/>
              </a:rPr>
              <a:t> </a:t>
            </a:r>
            <a:r>
              <a:rPr lang="nl-BE" dirty="0" err="1">
                <a:sym typeface="Wingdings" panose="05000000000000000000" pitchFamily="2" charset="2"/>
              </a:rPr>
              <a:t>the</a:t>
            </a:r>
            <a:r>
              <a:rPr lang="nl-BE" dirty="0">
                <a:sym typeface="Wingdings" panose="05000000000000000000" pitchFamily="2" charset="2"/>
              </a:rPr>
              <a:t> index page is 20% empty at </a:t>
            </a:r>
            <a:r>
              <a:rPr lang="nl-BE" dirty="0" err="1">
                <a:sym typeface="Wingdings" panose="05000000000000000000" pitchFamily="2" charset="2"/>
              </a:rPr>
              <a:t>creation</a:t>
            </a:r>
            <a:endParaRPr lang="nl-BE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2AA57E7-1406-2AFA-23F4-0602A986B09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679113" y="6211888"/>
            <a:ext cx="1512887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5AB58A-E7BA-ADE8-52FC-6C33FD770463}"/>
              </a:ext>
            </a:extLst>
          </p:cNvPr>
          <p:cNvSpPr txBox="1"/>
          <p:nvPr/>
        </p:nvSpPr>
        <p:spPr>
          <a:xfrm>
            <a:off x="1961146" y="3095494"/>
            <a:ext cx="729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my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EORGANIZ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DD6ECB-2474-597C-E11F-427A843EEFDB}"/>
              </a:ext>
            </a:extLst>
          </p:cNvPr>
          <p:cNvSpPr txBox="1"/>
          <p:nvPr/>
        </p:nvSpPr>
        <p:spPr>
          <a:xfrm>
            <a:off x="1961145" y="4409117"/>
            <a:ext cx="729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my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EBUIL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7F5F95-A618-8D19-8174-B25F4B3C57A9}"/>
              </a:ext>
            </a:extLst>
          </p:cNvPr>
          <p:cNvSpPr txBox="1"/>
          <p:nvPr/>
        </p:nvSpPr>
        <p:spPr>
          <a:xfrm>
            <a:off x="1961144" y="4883221"/>
            <a:ext cx="729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ALL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EBUIL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72825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8A398-9699-59A0-8CF6-A4337477B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Fragmenta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28A4B1-760C-8745-69CF-5769B9A280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eck health of an index with </a:t>
            </a:r>
            <a:r>
              <a:rPr lang="en-US" sz="2000" dirty="0" err="1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.dm_db_index_physical_stats</a:t>
            </a:r>
            <a:endParaRPr lang="en-US" sz="2000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BEE7E8-0C06-8F04-7B4F-76C981864D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5447" y="2016568"/>
            <a:ext cx="7158318" cy="4003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9807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D5AA7F-3E53-840A-84F8-DBE749540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solution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FD3C6F-0DEC-0384-7EA2-12961462D6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intenance Plans</a:t>
            </a:r>
          </a:p>
          <a:p>
            <a:pPr lvl="1"/>
            <a:r>
              <a:rPr lang="en-US" dirty="0"/>
              <a:t>uses SSIS behind the scenes</a:t>
            </a:r>
          </a:p>
          <a:p>
            <a:pPr lvl="1"/>
            <a:r>
              <a:rPr lang="en-US" dirty="0"/>
              <a:t>allows to schedule multiple tasks, with condition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>
                <a:hlinkClick r:id="rId2"/>
              </a:rPr>
              <a:t>Ola </a:t>
            </a:r>
            <a:r>
              <a:rPr lang="en-US" dirty="0" err="1">
                <a:hlinkClick r:id="rId2"/>
              </a:rPr>
              <a:t>Hellengren’s</a:t>
            </a:r>
            <a:r>
              <a:rPr lang="en-US" dirty="0">
                <a:hlinkClick r:id="rId2"/>
              </a:rPr>
              <a:t> SQL Server Maintenance Solut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D95224-54C6-D038-A4AF-5E34E45D85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488" y="2753123"/>
            <a:ext cx="2209992" cy="23624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C63AC44-713A-9852-675C-61B7BA6665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5273" y="2753123"/>
            <a:ext cx="2139895" cy="1776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157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177FC-5367-C06F-F070-AC00B143D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used index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70DF88-9756-B070-8B43-74A44E0BE6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can check the usage of an index with </a:t>
            </a:r>
            <a:r>
              <a:rPr lang="da-DK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.dm_db_index_usage_stats</a:t>
            </a: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dirty="0" err="1">
                <a:highlight>
                  <a:srgbClr val="FFFFFF"/>
                </a:highlight>
                <a:hlinkClick r:id="rId2"/>
              </a:rPr>
              <a:t>sp_BlitzIndex</a:t>
            </a:r>
            <a:r>
              <a:rPr lang="nl-BE" dirty="0">
                <a:highlight>
                  <a:srgbClr val="FFFFFF"/>
                </a:highlight>
              </a:rPr>
              <a:t> ® </a:t>
            </a:r>
            <a:r>
              <a:rPr lang="en-US" dirty="0">
                <a:highlight>
                  <a:srgbClr val="FFFFFF"/>
                </a:highlight>
              </a:rPr>
              <a:t> checks for duplicate/unused indexes, wide clustering keys etc.</a:t>
            </a:r>
            <a:endParaRPr lang="nl-BE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59DED99-51E0-B185-0D5A-7BFECD3E58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2739" y="2062816"/>
            <a:ext cx="3668356" cy="288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0917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13F13-3C0C-1264-5360-0A720B62C6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>
                <a:solidFill>
                  <a:schemeClr val="bg1"/>
                </a:solidFill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569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2F54725-DB6E-98A0-7670-25009E48A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EC336D5-3FA6-49E9-81D4-514360D923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dexes are crucial for good query performance in a relational database</a:t>
            </a:r>
          </a:p>
          <a:p>
            <a:r>
              <a:rPr lang="en-US" dirty="0"/>
              <a:t>Many different types of indexes, but most important ones are:</a:t>
            </a:r>
          </a:p>
          <a:p>
            <a:pPr lvl="1"/>
            <a:r>
              <a:rPr lang="en-US" dirty="0"/>
              <a:t>clustered index (only one per table)</a:t>
            </a:r>
          </a:p>
          <a:p>
            <a:pPr lvl="1"/>
            <a:r>
              <a:rPr lang="en-US" dirty="0" err="1"/>
              <a:t>nonclustered</a:t>
            </a:r>
            <a:r>
              <a:rPr lang="en-US" dirty="0"/>
              <a:t> index</a:t>
            </a:r>
          </a:p>
          <a:p>
            <a:pPr lvl="1"/>
            <a:r>
              <a:rPr lang="en-US" dirty="0"/>
              <a:t>columnstore index</a:t>
            </a:r>
          </a:p>
          <a:p>
            <a:pPr lvl="1"/>
            <a:endParaRPr lang="en-US" dirty="0"/>
          </a:p>
          <a:p>
            <a:r>
              <a:rPr lang="en-US" dirty="0"/>
              <a:t>In modern cloud data warehouses, indexes are typically not supported</a:t>
            </a:r>
          </a:p>
          <a:p>
            <a:pPr lvl="1"/>
            <a:r>
              <a:rPr lang="en-US" dirty="0"/>
              <a:t>architecture-wise, some resemble columnstore indexes</a:t>
            </a:r>
          </a:p>
          <a:p>
            <a:pPr lvl="1"/>
            <a:endParaRPr lang="en-US" dirty="0"/>
          </a:p>
          <a:p>
            <a:r>
              <a:rPr lang="en-US" dirty="0"/>
              <a:t>Check what the options are in your type and version of database</a:t>
            </a:r>
          </a:p>
          <a:p>
            <a:r>
              <a:rPr lang="en-US" dirty="0"/>
              <a:t>Don’t forget maintenance!</a:t>
            </a:r>
            <a:endParaRPr lang="nl-BE" dirty="0"/>
          </a:p>
        </p:txBody>
      </p:sp>
      <p:pic>
        <p:nvPicPr>
          <p:cNvPr id="6" name="Picture 2" descr="index Archives - A Shot of SQLEspresso">
            <a:extLst>
              <a:ext uri="{FF2B5EF4-FFF2-40B4-BE49-F238E27FC236}">
                <a16:creationId xmlns:a16="http://schemas.microsoft.com/office/drawing/2014/main" id="{AB2BB59B-E670-C327-F7D7-958B3ACF1A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2927" y="4752474"/>
            <a:ext cx="1948196" cy="1926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4450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86DEE-3122-2679-3621-E6F489437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C71AC-C3B4-EDF1-2034-A77A82A839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SQL Server and Azure SQL index architecture and design guide</a:t>
            </a:r>
            <a:endParaRPr lang="en-US" dirty="0"/>
          </a:p>
          <a:p>
            <a:r>
              <a:rPr lang="nl-BE" dirty="0" err="1">
                <a:hlinkClick r:id="rId3"/>
              </a:rPr>
              <a:t>Indexes</a:t>
            </a:r>
            <a:r>
              <a:rPr lang="nl-BE" dirty="0">
                <a:hlinkClick r:id="rId3"/>
              </a:rPr>
              <a:t> on MS </a:t>
            </a:r>
            <a:r>
              <a:rPr lang="nl-BE" dirty="0" err="1">
                <a:hlinkClick r:id="rId3"/>
              </a:rPr>
              <a:t>Learn</a:t>
            </a:r>
            <a:endParaRPr lang="nl-BE" dirty="0"/>
          </a:p>
          <a:p>
            <a:r>
              <a:rPr lang="nl-BE" dirty="0" err="1">
                <a:hlinkClick r:id="rId4"/>
              </a:rPr>
              <a:t>Clustered</a:t>
            </a:r>
            <a:r>
              <a:rPr lang="nl-BE" dirty="0">
                <a:hlinkClick r:id="rId4"/>
              </a:rPr>
              <a:t> </a:t>
            </a:r>
            <a:r>
              <a:rPr lang="nl-BE" dirty="0" err="1">
                <a:hlinkClick r:id="rId4"/>
              </a:rPr>
              <a:t>and</a:t>
            </a:r>
            <a:r>
              <a:rPr lang="nl-BE" dirty="0">
                <a:hlinkClick r:id="rId4"/>
              </a:rPr>
              <a:t> </a:t>
            </a:r>
            <a:r>
              <a:rPr lang="nl-BE" dirty="0" err="1">
                <a:hlinkClick r:id="rId4"/>
              </a:rPr>
              <a:t>nonclustered</a:t>
            </a:r>
            <a:r>
              <a:rPr lang="nl-BE" dirty="0">
                <a:hlinkClick r:id="rId4"/>
              </a:rPr>
              <a:t> </a:t>
            </a:r>
            <a:r>
              <a:rPr lang="nl-BE" dirty="0" err="1">
                <a:hlinkClick r:id="rId4"/>
              </a:rPr>
              <a:t>indexes</a:t>
            </a:r>
            <a:endParaRPr lang="nl-BE" dirty="0"/>
          </a:p>
          <a:p>
            <a:r>
              <a:rPr lang="en-US" dirty="0">
                <a:hlinkClick r:id="rId5"/>
              </a:rPr>
              <a:t>SQL Server Clustered Indexes internals with examples</a:t>
            </a:r>
            <a:endParaRPr lang="en-US" dirty="0"/>
          </a:p>
          <a:p>
            <a:r>
              <a:rPr lang="en-US" dirty="0">
                <a:hlinkClick r:id="rId6"/>
              </a:rPr>
              <a:t>Columnstore Indexes</a:t>
            </a:r>
            <a:endParaRPr lang="en-US" dirty="0"/>
          </a:p>
          <a:p>
            <a:r>
              <a:rPr lang="en-US" dirty="0">
                <a:hlinkClick r:id="rId7"/>
              </a:rPr>
              <a:t>JSON indexes in SQL Server: First impressions</a:t>
            </a:r>
            <a:endParaRPr lang="en-US" dirty="0"/>
          </a:p>
          <a:p>
            <a:r>
              <a:rPr lang="nl-BE" dirty="0">
                <a:hlinkClick r:id="rId8"/>
              </a:rPr>
              <a:t>https://ola.hallengren.com/</a:t>
            </a:r>
            <a:endParaRPr lang="nl-BE" dirty="0"/>
          </a:p>
          <a:p>
            <a:r>
              <a:rPr lang="nl-BE" dirty="0">
                <a:hlinkClick r:id="rId9"/>
              </a:rPr>
              <a:t>Free First </a:t>
            </a:r>
            <a:r>
              <a:rPr lang="nl-BE" dirty="0" err="1">
                <a:hlinkClick r:id="rId9"/>
              </a:rPr>
              <a:t>Responder</a:t>
            </a:r>
            <a:r>
              <a:rPr lang="nl-BE" dirty="0">
                <a:hlinkClick r:id="rId9"/>
              </a:rPr>
              <a:t> Kit</a:t>
            </a:r>
            <a:endParaRPr lang="nl-BE" dirty="0"/>
          </a:p>
        </p:txBody>
      </p:sp>
      <p:pic>
        <p:nvPicPr>
          <p:cNvPr id="4" name="Picture 2">
            <a:hlinkClick r:id="rId10"/>
            <a:extLst>
              <a:ext uri="{FF2B5EF4-FFF2-40B4-BE49-F238E27FC236}">
                <a16:creationId xmlns:a16="http://schemas.microsoft.com/office/drawing/2014/main" id="{14A5ABB3-73E7-806E-1D7E-177B3D887A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481" y="1119950"/>
            <a:ext cx="1946163" cy="2776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hlinkClick r:id="rId12"/>
            <a:extLst>
              <a:ext uri="{FF2B5EF4-FFF2-40B4-BE49-F238E27FC236}">
                <a16:creationId xmlns:a16="http://schemas.microsoft.com/office/drawing/2014/main" id="{DD35C7ED-633D-E93C-D1B3-9A52D6515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481" y="4063540"/>
            <a:ext cx="1943461" cy="2397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497289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8C225-F05A-A745-B281-72654431C7FC}"/>
              </a:ext>
            </a:extLst>
          </p:cNvPr>
          <p:cNvSpPr/>
          <p:nvPr/>
        </p:nvSpPr>
        <p:spPr>
          <a:xfrm>
            <a:off x="778933" y="3508022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BE" sz="1600" dirty="0"/>
              <a:t>www.ae.be</a:t>
            </a:r>
            <a:br>
              <a:rPr lang="en-BE" sz="1600" dirty="0"/>
            </a:br>
            <a:r>
              <a:rPr lang="en-BE" sz="1600" dirty="0"/>
              <a:t>inspire@ae.be</a:t>
            </a:r>
            <a:br>
              <a:rPr lang="en-BE" sz="1600" dirty="0"/>
            </a:br>
            <a:br>
              <a:rPr lang="en-BE" sz="1600" dirty="0"/>
            </a:br>
            <a:r>
              <a:rPr lang="en-BE" sz="1600" dirty="0"/>
              <a:t>+32 16 39 30 60</a:t>
            </a:r>
          </a:p>
          <a:p>
            <a:r>
              <a:rPr lang="en-BE" sz="1600" dirty="0"/>
              <a:t>Interleuvenlaan 27b</a:t>
            </a:r>
          </a:p>
          <a:p>
            <a:r>
              <a:rPr lang="en-BE" sz="1600" dirty="0"/>
              <a:t>3001 Heverlee</a:t>
            </a:r>
          </a:p>
        </p:txBody>
      </p:sp>
    </p:spTree>
    <p:extLst>
      <p:ext uri="{BB962C8B-B14F-4D97-AF65-F5344CB8AC3E}">
        <p14:creationId xmlns:p14="http://schemas.microsoft.com/office/powerpoint/2010/main" val="83040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BD8944-B4BB-3BD7-2CAA-FAD471B19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Free Traffic City photo and picture">
            <a:extLst>
              <a:ext uri="{FF2B5EF4-FFF2-40B4-BE49-F238E27FC236}">
                <a16:creationId xmlns:a16="http://schemas.microsoft.com/office/drawing/2014/main" id="{0A1A638B-4747-D324-FD88-C13DFFD0E8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38763"/>
            <a:ext cx="12192000" cy="8096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6271E-5AC9-1B12-73F6-7777EDD47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890E"/>
                </a:solidFill>
              </a:rPr>
              <a:t>… but not always</a:t>
            </a:r>
            <a:endParaRPr lang="nl-BE" sz="3600" dirty="0">
              <a:solidFill>
                <a:srgbClr val="FF890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DFF571-51D0-6323-EA45-BA9A9175933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9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77CCC-0B14-355F-FBAA-0F68199B69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An index is an on-disk or in-memory </a:t>
            </a:r>
            <a:r>
              <a:rPr lang="en-US" sz="4400" b="1" dirty="0"/>
              <a:t>structure</a:t>
            </a:r>
            <a:r>
              <a:rPr lang="en-US" sz="4400" dirty="0"/>
              <a:t> associated with a </a:t>
            </a:r>
            <a:r>
              <a:rPr lang="en-US" sz="4400" b="1" dirty="0"/>
              <a:t>table or view</a:t>
            </a:r>
            <a:r>
              <a:rPr lang="en-US" sz="4400" dirty="0"/>
              <a:t> that </a:t>
            </a:r>
            <a:r>
              <a:rPr lang="en-US" sz="4400" b="1" dirty="0"/>
              <a:t>speeds retrieval of rows </a:t>
            </a:r>
            <a:r>
              <a:rPr lang="en-US" sz="4400" dirty="0"/>
              <a:t>from the table or view</a:t>
            </a:r>
            <a:endParaRPr lang="nl-BE" sz="4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37AA0C-0E87-F2CB-77B0-57D67EF9CFA3}"/>
              </a:ext>
            </a:extLst>
          </p:cNvPr>
          <p:cNvSpPr txBox="1"/>
          <p:nvPr/>
        </p:nvSpPr>
        <p:spPr>
          <a:xfrm>
            <a:off x="217055" y="6354496"/>
            <a:ext cx="193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Microsoft Learn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1578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B028FE-3F20-118A-EB8D-4E77643987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6F7CE2-4F5E-24B8-A8DA-CE4866C587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lustered Indexes</a:t>
            </a:r>
            <a:endParaRPr lang="nl-BE" dirty="0">
              <a:solidFill>
                <a:schemeClr val="bg1"/>
              </a:solidFill>
            </a:endParaRPr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D535F6D5-DFC1-3964-3B83-C45F235DB4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670874"/>
            <a:ext cx="7674590" cy="728803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your best friend in SQL Server</a:t>
            </a:r>
            <a:endParaRPr lang="nl-B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42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1_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3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4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5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6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7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b56b28d-ece3-4522-8ec4-6f9f6a9f9ff3" xsi:nil="true"/>
    <lcf76f155ced4ddcb4097134ff3c332f xmlns="01f695ba-a536-45c9-9141-7a91830fcb8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92D013FB28F449BE60DEFAB0503152" ma:contentTypeVersion="11" ma:contentTypeDescription="Create a new document." ma:contentTypeScope="" ma:versionID="b5a8825dcd167efb2322861478467af6">
  <xsd:schema xmlns:xsd="http://www.w3.org/2001/XMLSchema" xmlns:xs="http://www.w3.org/2001/XMLSchema" xmlns:p="http://schemas.microsoft.com/office/2006/metadata/properties" xmlns:ns2="01f695ba-a536-45c9-9141-7a91830fcb89" xmlns:ns3="0b56b28d-ece3-4522-8ec4-6f9f6a9f9ff3" targetNamespace="http://schemas.microsoft.com/office/2006/metadata/properties" ma:root="true" ma:fieldsID="577d0c7bdcbf6363f5e3d05fbbc1ae17" ns2:_="" ns3:_="">
    <xsd:import namespace="01f695ba-a536-45c9-9141-7a91830fcb89"/>
    <xsd:import namespace="0b56b28d-ece3-4522-8ec4-6f9f6a9f9f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695ba-a536-45c9-9141-7a91830fcb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1001965-50d6-45bd-af63-f406dbfd6e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56b28d-ece3-4522-8ec4-6f9f6a9f9ff3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f89d6cb-3a51-42ab-a737-ca217b34f46e}" ma:internalName="TaxCatchAll" ma:showField="CatchAllData" ma:web="0b56b28d-ece3-4522-8ec4-6f9f6a9f9f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00F647A-7FB0-42AB-A6C2-343B4E22EC38}">
  <ds:schemaRefs>
    <ds:schemaRef ds:uri="http://purl.org/dc/dcmitype/"/>
    <ds:schemaRef ds:uri="01f695ba-a536-45c9-9141-7a91830fcb89"/>
    <ds:schemaRef ds:uri="0b56b28d-ece3-4522-8ec4-6f9f6a9f9ff3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CFE0DA9-5995-4A0B-817F-274C00AE75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D1410D-4430-4433-BCA4-AC5F431E6D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f695ba-a536-45c9-9141-7a91830fcb89"/>
    <ds:schemaRef ds:uri="0b56b28d-ece3-4522-8ec4-6f9f6a9f9f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71</TotalTime>
  <Words>2839</Words>
  <Application>Microsoft Office PowerPoint</Application>
  <PresentationFormat>Widescreen</PresentationFormat>
  <Paragraphs>775</Paragraphs>
  <Slides>6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79" baseType="lpstr">
      <vt:lpstr>Arial</vt:lpstr>
      <vt:lpstr>Calibri</vt:lpstr>
      <vt:lpstr>Cascadia Mono</vt:lpstr>
      <vt:lpstr>Century Gothic</vt:lpstr>
      <vt:lpstr>Century Gothic Bold</vt:lpstr>
      <vt:lpstr>Consolas</vt:lpstr>
      <vt:lpstr>Segoe UI Light</vt:lpstr>
      <vt:lpstr>Wingdings</vt:lpstr>
      <vt:lpstr>AE Template</vt:lpstr>
      <vt:lpstr>1_AE Template</vt:lpstr>
      <vt:lpstr>think-cell Slide</vt:lpstr>
      <vt:lpstr>Indexing for Dummies</vt:lpstr>
      <vt:lpstr>Contact</vt:lpstr>
      <vt:lpstr>Outline</vt:lpstr>
      <vt:lpstr>What are indexes?</vt:lpstr>
      <vt:lpstr>Indexes are …</vt:lpstr>
      <vt:lpstr>they make stuff go faster in your database</vt:lpstr>
      <vt:lpstr>… but not always</vt:lpstr>
      <vt:lpstr>An index is an on-disk or in-memory structure associated with a table or view that speeds retrieval of rows from the table or view</vt:lpstr>
      <vt:lpstr>Clustered Indexes</vt:lpstr>
      <vt:lpstr>PowerPoint Presentation</vt:lpstr>
      <vt:lpstr>PowerPoint Presentation</vt:lpstr>
      <vt:lpstr>the clustered index IS THE TABLE</vt:lpstr>
      <vt:lpstr>PowerPoint Presentation</vt:lpstr>
      <vt:lpstr>PowerPoint Presentation</vt:lpstr>
      <vt:lpstr>PowerPoint Presentation</vt:lpstr>
      <vt:lpstr>PowerPoint Presentation</vt:lpstr>
      <vt:lpstr>Syntax</vt:lpstr>
      <vt:lpstr>PowerPoint Presentation</vt:lpstr>
      <vt:lpstr>PowerPoint Presentation</vt:lpstr>
      <vt:lpstr>Characteristics of a clustered index</vt:lpstr>
      <vt:lpstr>Nonclustered Indexes</vt:lpstr>
      <vt:lpstr>PowerPoint Presentation</vt:lpstr>
      <vt:lpstr>PowerPoint Presentation</vt:lpstr>
      <vt:lpstr>Basic syntax</vt:lpstr>
      <vt:lpstr>Characteristics of a nonclustered index</vt:lpstr>
      <vt:lpstr>What is a covering index?</vt:lpstr>
      <vt:lpstr>INCLUDE columns to the rescue!</vt:lpstr>
      <vt:lpstr>PowerPoint Presentation</vt:lpstr>
      <vt:lpstr>CI keys are in every NCI</vt:lpstr>
      <vt:lpstr>NCI Tips &amp; Tricks</vt:lpstr>
      <vt:lpstr>NCI Tips &amp; Tricks</vt:lpstr>
      <vt:lpstr>NCI Tips &amp; Tricks</vt:lpstr>
      <vt:lpstr>PowerPoint Presentation</vt:lpstr>
      <vt:lpstr>NCI Tips &amp; Tricks</vt:lpstr>
      <vt:lpstr>PowerPoint Presentation</vt:lpstr>
      <vt:lpstr>NCI Tips &amp; Tricks</vt:lpstr>
      <vt:lpstr>Other Indexes</vt:lpstr>
      <vt:lpstr>Rowstore index</vt:lpstr>
      <vt:lpstr>Columnstore index - less I/O</vt:lpstr>
      <vt:lpstr>Columnstore index syntax</vt:lpstr>
      <vt:lpstr>Columnstore index - internals</vt:lpstr>
      <vt:lpstr>Columnstore index - internals</vt:lpstr>
      <vt:lpstr>Columnstore index - segment elimination</vt:lpstr>
      <vt:lpstr>Columnstore index - segment elimination</vt:lpstr>
      <vt:lpstr>Batch mode FTW</vt:lpstr>
      <vt:lpstr>Columnstore index</vt:lpstr>
      <vt:lpstr>Lesser-known index types</vt:lpstr>
      <vt:lpstr>Lesser-known index types</vt:lpstr>
      <vt:lpstr>The new kid on the block: JSON index</vt:lpstr>
      <vt:lpstr>JSON index</vt:lpstr>
      <vt:lpstr>JSON index</vt:lpstr>
      <vt:lpstr>Indexes in Other Engines</vt:lpstr>
      <vt:lpstr>All the indexes we’ve seen so far…</vt:lpstr>
      <vt:lpstr>Synapse Dedicated SQL Pool</vt:lpstr>
      <vt:lpstr>Dedicated SQL Pool - Distribution</vt:lpstr>
      <vt:lpstr>Dedicated SQL Pool - Distribution</vt:lpstr>
      <vt:lpstr>Dedicated SQL Pool - Constraints</vt:lpstr>
      <vt:lpstr>Fabric Warehouse</vt:lpstr>
      <vt:lpstr>Cosmos DB</vt:lpstr>
      <vt:lpstr>Maintenance</vt:lpstr>
      <vt:lpstr>Index Fragmentation</vt:lpstr>
      <vt:lpstr>Index Fragmentation</vt:lpstr>
      <vt:lpstr>Automated solutions</vt:lpstr>
      <vt:lpstr>Unused indexes</vt:lpstr>
      <vt:lpstr>Conclusion</vt:lpstr>
      <vt:lpstr>Conclusion</vt:lpstr>
      <vt:lpstr>Resour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en Verbeeck</dc:creator>
  <cp:lastModifiedBy>Koen Verbeeck</cp:lastModifiedBy>
  <cp:revision>91</cp:revision>
  <dcterms:created xsi:type="dcterms:W3CDTF">2019-03-20T20:18:18Z</dcterms:created>
  <dcterms:modified xsi:type="dcterms:W3CDTF">2025-09-22T11:0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92D013FB28F449BE60DEFAB0503152</vt:lpwstr>
  </property>
  <property fmtid="{D5CDD505-2E9C-101B-9397-08002B2CF9AE}" pid="3" name="MediaServiceImageTags">
    <vt:lpwstr/>
  </property>
</Properties>
</file>